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charts/chart1.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sldIdLst>
    <p:sldId id="287" r:id="rId2"/>
    <p:sldId id="285" r:id="rId3"/>
    <p:sldId id="256" r:id="rId4"/>
    <p:sldId id="257" r:id="rId5"/>
    <p:sldId id="258" r:id="rId6"/>
    <p:sldId id="259" r:id="rId7"/>
    <p:sldId id="261" r:id="rId8"/>
    <p:sldId id="292" r:id="rId9"/>
    <p:sldId id="279" r:id="rId10"/>
    <p:sldId id="290" r:id="rId11"/>
    <p:sldId id="260" r:id="rId12"/>
    <p:sldId id="281" r:id="rId13"/>
    <p:sldId id="262" r:id="rId14"/>
    <p:sldId id="264" r:id="rId15"/>
    <p:sldId id="265" r:id="rId16"/>
    <p:sldId id="267" r:id="rId17"/>
    <p:sldId id="282" r:id="rId18"/>
    <p:sldId id="284" r:id="rId19"/>
    <p:sldId id="268" r:id="rId20"/>
    <p:sldId id="269" r:id="rId21"/>
    <p:sldId id="270" r:id="rId22"/>
    <p:sldId id="288" r:id="rId23"/>
    <p:sldId id="273" r:id="rId24"/>
    <p:sldId id="276" r:id="rId25"/>
    <p:sldId id="272" r:id="rId26"/>
    <p:sldId id="280" r:id="rId27"/>
    <p:sldId id="286"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6E7A16-AB40-CAAF-CB27-9EC9815A9948}" v="1" dt="2020-12-02T20:59:43.599"/>
    <p1510:client id="{313CFDE5-81DC-4369-3646-B92BA62194F5}" v="542" dt="2020-12-02T21:34:09.037"/>
    <p1510:client id="{79A12D5C-E0D6-87E5-C074-E348ECB53F81}" v="2523" dt="2020-12-01T01:05:36.176"/>
    <p1510:client id="{8D39CC4C-7613-5AB4-6B69-68D6BD138F4D}" v="1412" dt="2020-12-01T00:06:02.318"/>
    <p1510:client id="{C3D129C5-C5E7-BF64-CDA6-AAF974ADB1B1}" v="152" dt="2020-11-30T01:49:01.929"/>
    <p1510:client id="{D8C4042B-39DF-ADFB-1C11-6CA82B85AE5E}" v="301" dt="2020-11-30T22:32:27.163"/>
  </p1510:revLst>
</p1510:revInfo>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chal  Bhamore" userId="S::2790260@vikes.csuohio.edu::3c0ae9e2-a394-4d39-948f-41c65fba8a73" providerId="AD" clId="Web-{D8C4042B-39DF-ADFB-1C11-6CA82B85AE5E}"/>
    <pc:docChg chg="modSld sldOrd modMainMaster">
      <pc:chgData name="Anchal  Bhamore" userId="S::2790260@vikes.csuohio.edu::3c0ae9e2-a394-4d39-948f-41c65fba8a73" providerId="AD" clId="Web-{D8C4042B-39DF-ADFB-1C11-6CA82B85AE5E}" dt="2020-11-30T22:32:27.163" v="272"/>
      <pc:docMkLst>
        <pc:docMk/>
      </pc:docMkLst>
      <pc:sldChg chg="modTransition">
        <pc:chgData name="Anchal  Bhamore" userId="S::2790260@vikes.csuohio.edu::3c0ae9e2-a394-4d39-948f-41c65fba8a73" providerId="AD" clId="Web-{D8C4042B-39DF-ADFB-1C11-6CA82B85AE5E}" dt="2020-11-30T22:31:45.599" v="267"/>
        <pc:sldMkLst>
          <pc:docMk/>
          <pc:sldMk cId="4069752862" sldId="256"/>
        </pc:sldMkLst>
      </pc:sldChg>
      <pc:sldChg chg="modTransition">
        <pc:chgData name="Anchal  Bhamore" userId="S::2790260@vikes.csuohio.edu::3c0ae9e2-a394-4d39-948f-41c65fba8a73" providerId="AD" clId="Web-{D8C4042B-39DF-ADFB-1C11-6CA82B85AE5E}" dt="2020-11-30T22:31:45.599" v="267"/>
        <pc:sldMkLst>
          <pc:docMk/>
          <pc:sldMk cId="242645325" sldId="257"/>
        </pc:sldMkLst>
      </pc:sldChg>
      <pc:sldChg chg="modTransition">
        <pc:chgData name="Anchal  Bhamore" userId="S::2790260@vikes.csuohio.edu::3c0ae9e2-a394-4d39-948f-41c65fba8a73" providerId="AD" clId="Web-{D8C4042B-39DF-ADFB-1C11-6CA82B85AE5E}" dt="2020-11-30T22:31:45.599" v="267"/>
        <pc:sldMkLst>
          <pc:docMk/>
          <pc:sldMk cId="1235507600" sldId="258"/>
        </pc:sldMkLst>
      </pc:sldChg>
      <pc:sldChg chg="modTransition">
        <pc:chgData name="Anchal  Bhamore" userId="S::2790260@vikes.csuohio.edu::3c0ae9e2-a394-4d39-948f-41c65fba8a73" providerId="AD" clId="Web-{D8C4042B-39DF-ADFB-1C11-6CA82B85AE5E}" dt="2020-11-30T22:31:45.599" v="267"/>
        <pc:sldMkLst>
          <pc:docMk/>
          <pc:sldMk cId="610735677" sldId="259"/>
        </pc:sldMkLst>
      </pc:sldChg>
      <pc:sldChg chg="modTransition">
        <pc:chgData name="Anchal  Bhamore" userId="S::2790260@vikes.csuohio.edu::3c0ae9e2-a394-4d39-948f-41c65fba8a73" providerId="AD" clId="Web-{D8C4042B-39DF-ADFB-1C11-6CA82B85AE5E}" dt="2020-11-30T22:31:45.599" v="267"/>
        <pc:sldMkLst>
          <pc:docMk/>
          <pc:sldMk cId="1109106904" sldId="260"/>
        </pc:sldMkLst>
      </pc:sldChg>
      <pc:sldChg chg="modTransition">
        <pc:chgData name="Anchal  Bhamore" userId="S::2790260@vikes.csuohio.edu::3c0ae9e2-a394-4d39-948f-41c65fba8a73" providerId="AD" clId="Web-{D8C4042B-39DF-ADFB-1C11-6CA82B85AE5E}" dt="2020-11-30T22:31:45.599" v="267"/>
        <pc:sldMkLst>
          <pc:docMk/>
          <pc:sldMk cId="2266807988" sldId="261"/>
        </pc:sldMkLst>
      </pc:sldChg>
      <pc:sldChg chg="modTransition">
        <pc:chgData name="Anchal  Bhamore" userId="S::2790260@vikes.csuohio.edu::3c0ae9e2-a394-4d39-948f-41c65fba8a73" providerId="AD" clId="Web-{D8C4042B-39DF-ADFB-1C11-6CA82B85AE5E}" dt="2020-11-30T22:31:45.599" v="267"/>
        <pc:sldMkLst>
          <pc:docMk/>
          <pc:sldMk cId="3400315354" sldId="262"/>
        </pc:sldMkLst>
      </pc:sldChg>
      <pc:sldChg chg="modTransition">
        <pc:chgData name="Anchal  Bhamore" userId="S::2790260@vikes.csuohio.edu::3c0ae9e2-a394-4d39-948f-41c65fba8a73" providerId="AD" clId="Web-{D8C4042B-39DF-ADFB-1C11-6CA82B85AE5E}" dt="2020-11-30T22:32:27.163" v="272"/>
        <pc:sldMkLst>
          <pc:docMk/>
          <pc:sldMk cId="3881149273" sldId="264"/>
        </pc:sldMkLst>
      </pc:sldChg>
      <pc:sldChg chg="modTransition">
        <pc:chgData name="Anchal  Bhamore" userId="S::2790260@vikes.csuohio.edu::3c0ae9e2-a394-4d39-948f-41c65fba8a73" providerId="AD" clId="Web-{D8C4042B-39DF-ADFB-1C11-6CA82B85AE5E}" dt="2020-11-30T22:31:45.599" v="267"/>
        <pc:sldMkLst>
          <pc:docMk/>
          <pc:sldMk cId="4180734371" sldId="265"/>
        </pc:sldMkLst>
      </pc:sldChg>
      <pc:sldChg chg="modTransition">
        <pc:chgData name="Anchal  Bhamore" userId="S::2790260@vikes.csuohio.edu::3c0ae9e2-a394-4d39-948f-41c65fba8a73" providerId="AD" clId="Web-{D8C4042B-39DF-ADFB-1C11-6CA82B85AE5E}" dt="2020-11-30T22:31:45.599" v="267"/>
        <pc:sldMkLst>
          <pc:docMk/>
          <pc:sldMk cId="1138601960" sldId="266"/>
        </pc:sldMkLst>
      </pc:sldChg>
      <pc:sldChg chg="modTransition">
        <pc:chgData name="Anchal  Bhamore" userId="S::2790260@vikes.csuohio.edu::3c0ae9e2-a394-4d39-948f-41c65fba8a73" providerId="AD" clId="Web-{D8C4042B-39DF-ADFB-1C11-6CA82B85AE5E}" dt="2020-11-30T22:31:45.599" v="267"/>
        <pc:sldMkLst>
          <pc:docMk/>
          <pc:sldMk cId="720775272" sldId="267"/>
        </pc:sldMkLst>
      </pc:sldChg>
      <pc:sldChg chg="modTransition">
        <pc:chgData name="Anchal  Bhamore" userId="S::2790260@vikes.csuohio.edu::3c0ae9e2-a394-4d39-948f-41c65fba8a73" providerId="AD" clId="Web-{D8C4042B-39DF-ADFB-1C11-6CA82B85AE5E}" dt="2020-11-30T22:31:45.599" v="267"/>
        <pc:sldMkLst>
          <pc:docMk/>
          <pc:sldMk cId="1704361268" sldId="268"/>
        </pc:sldMkLst>
      </pc:sldChg>
      <pc:sldChg chg="modTransition">
        <pc:chgData name="Anchal  Bhamore" userId="S::2790260@vikes.csuohio.edu::3c0ae9e2-a394-4d39-948f-41c65fba8a73" providerId="AD" clId="Web-{D8C4042B-39DF-ADFB-1C11-6CA82B85AE5E}" dt="2020-11-30T22:31:45.599" v="267"/>
        <pc:sldMkLst>
          <pc:docMk/>
          <pc:sldMk cId="814600342" sldId="269"/>
        </pc:sldMkLst>
      </pc:sldChg>
      <pc:sldChg chg="modTransition">
        <pc:chgData name="Anchal  Bhamore" userId="S::2790260@vikes.csuohio.edu::3c0ae9e2-a394-4d39-948f-41c65fba8a73" providerId="AD" clId="Web-{D8C4042B-39DF-ADFB-1C11-6CA82B85AE5E}" dt="2020-11-30T22:31:45.599" v="267"/>
        <pc:sldMkLst>
          <pc:docMk/>
          <pc:sldMk cId="4021630271" sldId="270"/>
        </pc:sldMkLst>
      </pc:sldChg>
      <pc:sldChg chg="modTransition">
        <pc:chgData name="Anchal  Bhamore" userId="S::2790260@vikes.csuohio.edu::3c0ae9e2-a394-4d39-948f-41c65fba8a73" providerId="AD" clId="Web-{D8C4042B-39DF-ADFB-1C11-6CA82B85AE5E}" dt="2020-11-30T22:31:45.599" v="267"/>
        <pc:sldMkLst>
          <pc:docMk/>
          <pc:sldMk cId="581668791" sldId="271"/>
        </pc:sldMkLst>
      </pc:sldChg>
      <pc:sldChg chg="modTransition">
        <pc:chgData name="Anchal  Bhamore" userId="S::2790260@vikes.csuohio.edu::3c0ae9e2-a394-4d39-948f-41c65fba8a73" providerId="AD" clId="Web-{D8C4042B-39DF-ADFB-1C11-6CA82B85AE5E}" dt="2020-11-30T22:31:45.599" v="267"/>
        <pc:sldMkLst>
          <pc:docMk/>
          <pc:sldMk cId="3350954519" sldId="272"/>
        </pc:sldMkLst>
      </pc:sldChg>
      <pc:sldChg chg="modSp modTransition">
        <pc:chgData name="Anchal  Bhamore" userId="S::2790260@vikes.csuohio.edu::3c0ae9e2-a394-4d39-948f-41c65fba8a73" providerId="AD" clId="Web-{D8C4042B-39DF-ADFB-1C11-6CA82B85AE5E}" dt="2020-11-30T22:31:45.599" v="267"/>
        <pc:sldMkLst>
          <pc:docMk/>
          <pc:sldMk cId="3417158616" sldId="273"/>
        </pc:sldMkLst>
        <pc:spChg chg="mod">
          <ac:chgData name="Anchal  Bhamore" userId="S::2790260@vikes.csuohio.edu::3c0ae9e2-a394-4d39-948f-41c65fba8a73" providerId="AD" clId="Web-{D8C4042B-39DF-ADFB-1C11-6CA82B85AE5E}" dt="2020-11-30T22:18:59.800" v="226" actId="20577"/>
          <ac:spMkLst>
            <pc:docMk/>
            <pc:sldMk cId="3417158616" sldId="273"/>
            <ac:spMk id="20" creationId="{C2BE5BF0-8DED-4ACC-B337-8A27C0661055}"/>
          </ac:spMkLst>
        </pc:spChg>
      </pc:sldChg>
      <pc:sldChg chg="modTransition">
        <pc:chgData name="Anchal  Bhamore" userId="S::2790260@vikes.csuohio.edu::3c0ae9e2-a394-4d39-948f-41c65fba8a73" providerId="AD" clId="Web-{D8C4042B-39DF-ADFB-1C11-6CA82B85AE5E}" dt="2020-11-30T22:31:45.599" v="267"/>
        <pc:sldMkLst>
          <pc:docMk/>
          <pc:sldMk cId="1933942813" sldId="274"/>
        </pc:sldMkLst>
      </pc:sldChg>
      <pc:sldChg chg="modSp ord modTransition">
        <pc:chgData name="Anchal  Bhamore" userId="S::2790260@vikes.csuohio.edu::3c0ae9e2-a394-4d39-948f-41c65fba8a73" providerId="AD" clId="Web-{D8C4042B-39DF-ADFB-1C11-6CA82B85AE5E}" dt="2020-11-30T22:31:45.599" v="267"/>
        <pc:sldMkLst>
          <pc:docMk/>
          <pc:sldMk cId="4215470810" sldId="275"/>
        </pc:sldMkLst>
        <pc:spChg chg="mod">
          <ac:chgData name="Anchal  Bhamore" userId="S::2790260@vikes.csuohio.edu::3c0ae9e2-a394-4d39-948f-41c65fba8a73" providerId="AD" clId="Web-{D8C4042B-39DF-ADFB-1C11-6CA82B85AE5E}" dt="2020-11-30T22:12:25.501" v="86" actId="20577"/>
          <ac:spMkLst>
            <pc:docMk/>
            <pc:sldMk cId="4215470810" sldId="275"/>
            <ac:spMk id="5" creationId="{EB6BD615-6FF6-4241-9A7D-F95CE8864957}"/>
          </ac:spMkLst>
        </pc:spChg>
      </pc:sldChg>
      <pc:sldChg chg="modSp ord modTransition">
        <pc:chgData name="Anchal  Bhamore" userId="S::2790260@vikes.csuohio.edu::3c0ae9e2-a394-4d39-948f-41c65fba8a73" providerId="AD" clId="Web-{D8C4042B-39DF-ADFB-1C11-6CA82B85AE5E}" dt="2020-11-30T22:31:45.599" v="267"/>
        <pc:sldMkLst>
          <pc:docMk/>
          <pc:sldMk cId="484336297" sldId="276"/>
        </pc:sldMkLst>
        <pc:spChg chg="mod">
          <ac:chgData name="Anchal  Bhamore" userId="S::2790260@vikes.csuohio.edu::3c0ae9e2-a394-4d39-948f-41c65fba8a73" providerId="AD" clId="Web-{D8C4042B-39DF-ADFB-1C11-6CA82B85AE5E}" dt="2020-11-30T22:20:00.771" v="244" actId="20577"/>
          <ac:spMkLst>
            <pc:docMk/>
            <pc:sldMk cId="484336297" sldId="276"/>
            <ac:spMk id="2" creationId="{84CC8A5B-A025-4B42-B63D-FF09983144BB}"/>
          </ac:spMkLst>
        </pc:spChg>
        <pc:spChg chg="mod">
          <ac:chgData name="Anchal  Bhamore" userId="S::2790260@vikes.csuohio.edu::3c0ae9e2-a394-4d39-948f-41c65fba8a73" providerId="AD" clId="Web-{D8C4042B-39DF-ADFB-1C11-6CA82B85AE5E}" dt="2020-11-30T22:20:07.865" v="258" actId="20577"/>
          <ac:spMkLst>
            <pc:docMk/>
            <pc:sldMk cId="484336297" sldId="276"/>
            <ac:spMk id="3" creationId="{E91E8E90-7E10-4902-80B4-2B9466106119}"/>
          </ac:spMkLst>
        </pc:spChg>
      </pc:sldChg>
      <pc:sldChg chg="modTransition">
        <pc:chgData name="Anchal  Bhamore" userId="S::2790260@vikes.csuohio.edu::3c0ae9e2-a394-4d39-948f-41c65fba8a73" providerId="AD" clId="Web-{D8C4042B-39DF-ADFB-1C11-6CA82B85AE5E}" dt="2020-11-30T22:31:45.599" v="267"/>
        <pc:sldMkLst>
          <pc:docMk/>
          <pc:sldMk cId="3602943193" sldId="278"/>
        </pc:sldMkLst>
      </pc:sldChg>
      <pc:sldChg chg="modTransition">
        <pc:chgData name="Anchal  Bhamore" userId="S::2790260@vikes.csuohio.edu::3c0ae9e2-a394-4d39-948f-41c65fba8a73" providerId="AD" clId="Web-{D8C4042B-39DF-ADFB-1C11-6CA82B85AE5E}" dt="2020-11-30T22:31:45.599" v="267"/>
        <pc:sldMkLst>
          <pc:docMk/>
          <pc:sldMk cId="2223630483" sldId="279"/>
        </pc:sldMkLst>
      </pc:sldChg>
      <pc:sldChg chg="modSp modTransition">
        <pc:chgData name="Anchal  Bhamore" userId="S::2790260@vikes.csuohio.edu::3c0ae9e2-a394-4d39-948f-41c65fba8a73" providerId="AD" clId="Web-{D8C4042B-39DF-ADFB-1C11-6CA82B85AE5E}" dt="2020-11-30T22:31:45.599" v="267"/>
        <pc:sldMkLst>
          <pc:docMk/>
          <pc:sldMk cId="2943763322" sldId="280"/>
        </pc:sldMkLst>
        <pc:graphicFrameChg chg="mod modGraphic">
          <ac:chgData name="Anchal  Bhamore" userId="S::2790260@vikes.csuohio.edu::3c0ae9e2-a394-4d39-948f-41c65fba8a73" providerId="AD" clId="Web-{D8C4042B-39DF-ADFB-1C11-6CA82B85AE5E}" dt="2020-11-30T22:16:43.559" v="203"/>
          <ac:graphicFrameMkLst>
            <pc:docMk/>
            <pc:sldMk cId="2943763322" sldId="280"/>
            <ac:graphicFrameMk id="5" creationId="{98FD0B16-DAFD-4BC2-878B-24F04F842071}"/>
          </ac:graphicFrameMkLst>
        </pc:graphicFrameChg>
      </pc:sldChg>
      <pc:sldChg chg="modTransition">
        <pc:chgData name="Anchal  Bhamore" userId="S::2790260@vikes.csuohio.edu::3c0ae9e2-a394-4d39-948f-41c65fba8a73" providerId="AD" clId="Web-{D8C4042B-39DF-ADFB-1C11-6CA82B85AE5E}" dt="2020-11-30T22:31:45.599" v="267"/>
        <pc:sldMkLst>
          <pc:docMk/>
          <pc:sldMk cId="3307272477" sldId="281"/>
        </pc:sldMkLst>
      </pc:sldChg>
      <pc:sldChg chg="modTransition">
        <pc:chgData name="Anchal  Bhamore" userId="S::2790260@vikes.csuohio.edu::3c0ae9e2-a394-4d39-948f-41c65fba8a73" providerId="AD" clId="Web-{D8C4042B-39DF-ADFB-1C11-6CA82B85AE5E}" dt="2020-11-30T22:31:45.599" v="267"/>
        <pc:sldMkLst>
          <pc:docMk/>
          <pc:sldMk cId="2836160367" sldId="282"/>
        </pc:sldMkLst>
      </pc:sldChg>
      <pc:sldChg chg="modTransition">
        <pc:chgData name="Anchal  Bhamore" userId="S::2790260@vikes.csuohio.edu::3c0ae9e2-a394-4d39-948f-41c65fba8a73" providerId="AD" clId="Web-{D8C4042B-39DF-ADFB-1C11-6CA82B85AE5E}" dt="2020-11-30T22:31:45.599" v="267"/>
        <pc:sldMkLst>
          <pc:docMk/>
          <pc:sldMk cId="3508727261" sldId="283"/>
        </pc:sldMkLst>
      </pc:sldChg>
      <pc:sldChg chg="modTransition">
        <pc:chgData name="Anchal  Bhamore" userId="S::2790260@vikes.csuohio.edu::3c0ae9e2-a394-4d39-948f-41c65fba8a73" providerId="AD" clId="Web-{D8C4042B-39DF-ADFB-1C11-6CA82B85AE5E}" dt="2020-11-30T22:31:45.599" v="267"/>
        <pc:sldMkLst>
          <pc:docMk/>
          <pc:sldMk cId="2333032449" sldId="284"/>
        </pc:sldMkLst>
      </pc:sldChg>
      <pc:sldChg chg="modTransition">
        <pc:chgData name="Anchal  Bhamore" userId="S::2790260@vikes.csuohio.edu::3c0ae9e2-a394-4d39-948f-41c65fba8a73" providerId="AD" clId="Web-{D8C4042B-39DF-ADFB-1C11-6CA82B85AE5E}" dt="2020-11-30T22:31:45.599" v="267"/>
        <pc:sldMkLst>
          <pc:docMk/>
          <pc:sldMk cId="2371235732" sldId="285"/>
        </pc:sldMkLst>
      </pc:sldChg>
      <pc:sldChg chg="modTransition">
        <pc:chgData name="Anchal  Bhamore" userId="S::2790260@vikes.csuohio.edu::3c0ae9e2-a394-4d39-948f-41c65fba8a73" providerId="AD" clId="Web-{D8C4042B-39DF-ADFB-1C11-6CA82B85AE5E}" dt="2020-11-30T22:31:45.599" v="267"/>
        <pc:sldMkLst>
          <pc:docMk/>
          <pc:sldMk cId="2121537683" sldId="286"/>
        </pc:sldMkLst>
      </pc:sldChg>
      <pc:sldChg chg="modTransition">
        <pc:chgData name="Anchal  Bhamore" userId="S::2790260@vikes.csuohio.edu::3c0ae9e2-a394-4d39-948f-41c65fba8a73" providerId="AD" clId="Web-{D8C4042B-39DF-ADFB-1C11-6CA82B85AE5E}" dt="2020-11-30T22:31:45.599" v="267"/>
        <pc:sldMkLst>
          <pc:docMk/>
          <pc:sldMk cId="2742197637" sldId="287"/>
        </pc:sldMkLst>
      </pc:sldChg>
      <pc:sldMasterChg chg="modTransition modSldLayout">
        <pc:chgData name="Anchal  Bhamore" userId="S::2790260@vikes.csuohio.edu::3c0ae9e2-a394-4d39-948f-41c65fba8a73" providerId="AD" clId="Web-{D8C4042B-39DF-ADFB-1C11-6CA82B85AE5E}" dt="2020-11-30T22:31:45.599" v="267"/>
        <pc:sldMasterMkLst>
          <pc:docMk/>
          <pc:sldMasterMk cId="4154112255" sldId="2147483648"/>
        </pc:sldMasterMkLst>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4044643413" sldId="2147483649"/>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2324631376" sldId="2147483650"/>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2362223252" sldId="2147483651"/>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1269848336" sldId="2147483652"/>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3206011881" sldId="2147483653"/>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3951108533" sldId="2147483654"/>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1104991942" sldId="2147483655"/>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4131745762" sldId="2147483656"/>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2861249849" sldId="2147483657"/>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570228768" sldId="2147483658"/>
          </pc:sldLayoutMkLst>
        </pc:sldLayoutChg>
        <pc:sldLayoutChg chg="modTransition">
          <pc:chgData name="Anchal  Bhamore" userId="S::2790260@vikes.csuohio.edu::3c0ae9e2-a394-4d39-948f-41c65fba8a73" providerId="AD" clId="Web-{D8C4042B-39DF-ADFB-1C11-6CA82B85AE5E}" dt="2020-11-30T22:31:45.599" v="267"/>
          <pc:sldLayoutMkLst>
            <pc:docMk/>
            <pc:sldMasterMk cId="4154112255" sldId="2147483648"/>
            <pc:sldLayoutMk cId="3410246371" sldId="2147483659"/>
          </pc:sldLayoutMkLst>
        </pc:sldLayoutChg>
      </pc:sldMasterChg>
    </pc:docChg>
  </pc:docChgLst>
  <pc:docChgLst>
    <pc:chgData name="Anchal  Bhamore" userId="S::2790260@vikes.csuohio.edu::3c0ae9e2-a394-4d39-948f-41c65fba8a73" providerId="AD" clId="Web-{313CFDE5-81DC-4369-3646-B92BA62194F5}"/>
    <pc:docChg chg="modSld">
      <pc:chgData name="Anchal  Bhamore" userId="S::2790260@vikes.csuohio.edu::3c0ae9e2-a394-4d39-948f-41c65fba8a73" providerId="AD" clId="Web-{313CFDE5-81DC-4369-3646-B92BA62194F5}" dt="2020-12-02T21:34:09.037" v="526" actId="20577"/>
      <pc:docMkLst>
        <pc:docMk/>
      </pc:docMkLst>
      <pc:sldChg chg="addSp delSp modSp">
        <pc:chgData name="Anchal  Bhamore" userId="S::2790260@vikes.csuohio.edu::3c0ae9e2-a394-4d39-948f-41c65fba8a73" providerId="AD" clId="Web-{313CFDE5-81DC-4369-3646-B92BA62194F5}" dt="2020-12-02T20:53:47.006" v="482" actId="1076"/>
        <pc:sldMkLst>
          <pc:docMk/>
          <pc:sldMk cId="3400315354" sldId="262"/>
        </pc:sldMkLst>
        <pc:spChg chg="mod">
          <ac:chgData name="Anchal  Bhamore" userId="S::2790260@vikes.csuohio.edu::3c0ae9e2-a394-4d39-948f-41c65fba8a73" providerId="AD" clId="Web-{313CFDE5-81DC-4369-3646-B92BA62194F5}" dt="2020-12-02T20:53:47.006" v="482" actId="1076"/>
          <ac:spMkLst>
            <pc:docMk/>
            <pc:sldMk cId="3400315354" sldId="262"/>
            <ac:spMk id="2" creationId="{0785EC6B-0FD6-4F4A-B0E3-B6770AB25FD3}"/>
          </ac:spMkLst>
        </pc:spChg>
        <pc:spChg chg="add del">
          <ac:chgData name="Anchal  Bhamore" userId="S::2790260@vikes.csuohio.edu::3c0ae9e2-a394-4d39-948f-41c65fba8a73" providerId="AD" clId="Web-{313CFDE5-81DC-4369-3646-B92BA62194F5}" dt="2020-12-02T20:51:16.034" v="2"/>
          <ac:spMkLst>
            <pc:docMk/>
            <pc:sldMk cId="3400315354" sldId="262"/>
            <ac:spMk id="26" creationId="{F3060C83-F051-4F0E-ABAD-AA0DFC48B218}"/>
          </ac:spMkLst>
        </pc:spChg>
        <pc:spChg chg="add del">
          <ac:chgData name="Anchal  Bhamore" userId="S::2790260@vikes.csuohio.edu::3c0ae9e2-a394-4d39-948f-41c65fba8a73" providerId="AD" clId="Web-{313CFDE5-81DC-4369-3646-B92BA62194F5}" dt="2020-12-02T20:51:16.034" v="2"/>
          <ac:spMkLst>
            <pc:docMk/>
            <pc:sldMk cId="3400315354" sldId="262"/>
            <ac:spMk id="28" creationId="{83C98ABE-055B-441F-B07E-44F97F083C39}"/>
          </ac:spMkLst>
        </pc:spChg>
        <pc:spChg chg="add del">
          <ac:chgData name="Anchal  Bhamore" userId="S::2790260@vikes.csuohio.edu::3c0ae9e2-a394-4d39-948f-41c65fba8a73" providerId="AD" clId="Web-{313CFDE5-81DC-4369-3646-B92BA62194F5}" dt="2020-12-02T20:51:16.034" v="2"/>
          <ac:spMkLst>
            <pc:docMk/>
            <pc:sldMk cId="3400315354" sldId="262"/>
            <ac:spMk id="30" creationId="{29FDB030-9B49-4CED-8CCD-4D99382388AC}"/>
          </ac:spMkLst>
        </pc:spChg>
        <pc:spChg chg="add del">
          <ac:chgData name="Anchal  Bhamore" userId="S::2790260@vikes.csuohio.edu::3c0ae9e2-a394-4d39-948f-41c65fba8a73" providerId="AD" clId="Web-{313CFDE5-81DC-4369-3646-B92BA62194F5}" dt="2020-12-02T20:51:16.034" v="2"/>
          <ac:spMkLst>
            <pc:docMk/>
            <pc:sldMk cId="3400315354" sldId="262"/>
            <ac:spMk id="32" creationId="{3783CA14-24A1-485C-8B30-D6A5D87987AD}"/>
          </ac:spMkLst>
        </pc:spChg>
        <pc:spChg chg="add del">
          <ac:chgData name="Anchal  Bhamore" userId="S::2790260@vikes.csuohio.edu::3c0ae9e2-a394-4d39-948f-41c65fba8a73" providerId="AD" clId="Web-{313CFDE5-81DC-4369-3646-B92BA62194F5}" dt="2020-12-02T20:51:16.034" v="2"/>
          <ac:spMkLst>
            <pc:docMk/>
            <pc:sldMk cId="3400315354" sldId="262"/>
            <ac:spMk id="34" creationId="{9A97C86A-04D6-40F7-AE84-31AB43E6A846}"/>
          </ac:spMkLst>
        </pc:spChg>
        <pc:spChg chg="add del">
          <ac:chgData name="Anchal  Bhamore" userId="S::2790260@vikes.csuohio.edu::3c0ae9e2-a394-4d39-948f-41c65fba8a73" providerId="AD" clId="Web-{313CFDE5-81DC-4369-3646-B92BA62194F5}" dt="2020-12-02T20:51:16.034" v="2"/>
          <ac:spMkLst>
            <pc:docMk/>
            <pc:sldMk cId="3400315354" sldId="262"/>
            <ac:spMk id="36" creationId="{FF9F2414-84E8-453E-B1F3-389FDE8192D9}"/>
          </ac:spMkLst>
        </pc:spChg>
        <pc:spChg chg="add del">
          <ac:chgData name="Anchal  Bhamore" userId="S::2790260@vikes.csuohio.edu::3c0ae9e2-a394-4d39-948f-41c65fba8a73" providerId="AD" clId="Web-{313CFDE5-81DC-4369-3646-B92BA62194F5}" dt="2020-12-02T20:51:16.034" v="2"/>
          <ac:spMkLst>
            <pc:docMk/>
            <pc:sldMk cId="3400315354" sldId="262"/>
            <ac:spMk id="38" creationId="{3ECA69A1-7536-43AC-85EF-C7106179F5ED}"/>
          </ac:spMkLst>
        </pc:spChg>
        <pc:spChg chg="add">
          <ac:chgData name="Anchal  Bhamore" userId="S::2790260@vikes.csuohio.edu::3c0ae9e2-a394-4d39-948f-41c65fba8a73" providerId="AD" clId="Web-{313CFDE5-81DC-4369-3646-B92BA62194F5}" dt="2020-12-02T20:51:16.034" v="2"/>
          <ac:spMkLst>
            <pc:docMk/>
            <pc:sldMk cId="3400315354" sldId="262"/>
            <ac:spMk id="40" creationId="{A4AC5506-6312-4701-8D3C-40187889A947}"/>
          </ac:spMkLst>
        </pc:spChg>
        <pc:spChg chg="add del">
          <ac:chgData name="Anchal  Bhamore" userId="S::2790260@vikes.csuohio.edu::3c0ae9e2-a394-4d39-948f-41c65fba8a73" providerId="AD" clId="Web-{313CFDE5-81DC-4369-3646-B92BA62194F5}" dt="2020-12-02T20:51:15.940" v="1"/>
          <ac:spMkLst>
            <pc:docMk/>
            <pc:sldMk cId="3400315354" sldId="262"/>
            <ac:spMk id="43" creationId="{53F29798-D584-4792-9B62-3F5F5C36D619}"/>
          </ac:spMkLst>
        </pc:spChg>
        <pc:graphicFrameChg chg="mod ord modGraphic">
          <ac:chgData name="Anchal  Bhamore" userId="S::2790260@vikes.csuohio.edu::3c0ae9e2-a394-4d39-948f-41c65fba8a73" providerId="AD" clId="Web-{313CFDE5-81DC-4369-3646-B92BA62194F5}" dt="2020-12-02T20:53:07.458" v="478"/>
          <ac:graphicFrameMkLst>
            <pc:docMk/>
            <pc:sldMk cId="3400315354" sldId="262"/>
            <ac:graphicFrameMk id="4" creationId="{A09BB9AE-5807-4078-8F86-660AD63F46C0}"/>
          </ac:graphicFrameMkLst>
        </pc:graphicFrameChg>
      </pc:sldChg>
      <pc:sldChg chg="modSp">
        <pc:chgData name="Anchal  Bhamore" userId="S::2790260@vikes.csuohio.edu::3c0ae9e2-a394-4d39-948f-41c65fba8a73" providerId="AD" clId="Web-{313CFDE5-81DC-4369-3646-B92BA62194F5}" dt="2020-12-02T20:54:47.257" v="488"/>
        <pc:sldMkLst>
          <pc:docMk/>
          <pc:sldMk cId="2943763322" sldId="280"/>
        </pc:sldMkLst>
        <pc:graphicFrameChg chg="mod modGraphic">
          <ac:chgData name="Anchal  Bhamore" userId="S::2790260@vikes.csuohio.edu::3c0ae9e2-a394-4d39-948f-41c65fba8a73" providerId="AD" clId="Web-{313CFDE5-81DC-4369-3646-B92BA62194F5}" dt="2020-12-02T20:54:47.257" v="488"/>
          <ac:graphicFrameMkLst>
            <pc:docMk/>
            <pc:sldMk cId="2943763322" sldId="280"/>
            <ac:graphicFrameMk id="5" creationId="{98FD0B16-DAFD-4BC2-878B-24F04F842071}"/>
          </ac:graphicFrameMkLst>
        </pc:graphicFrameChg>
      </pc:sldChg>
      <pc:sldChg chg="addSp delSp modSp">
        <pc:chgData name="Anchal  Bhamore" userId="S::2790260@vikes.csuohio.edu::3c0ae9e2-a394-4d39-948f-41c65fba8a73" providerId="AD" clId="Web-{313CFDE5-81DC-4369-3646-B92BA62194F5}" dt="2020-12-02T21:34:07.052" v="524" actId="20577"/>
        <pc:sldMkLst>
          <pc:docMk/>
          <pc:sldMk cId="2371235732" sldId="285"/>
        </pc:sldMkLst>
        <pc:spChg chg="mod">
          <ac:chgData name="Anchal  Bhamore" userId="S::2790260@vikes.csuohio.edu::3c0ae9e2-a394-4d39-948f-41c65fba8a73" providerId="AD" clId="Web-{313CFDE5-81DC-4369-3646-B92BA62194F5}" dt="2020-12-02T21:34:07.052" v="524" actId="20577"/>
          <ac:spMkLst>
            <pc:docMk/>
            <pc:sldMk cId="2371235732" sldId="285"/>
            <ac:spMk id="6" creationId="{E121B96C-BDBE-4475-93CD-B0AAABF26350}"/>
          </ac:spMkLst>
        </pc:spChg>
        <pc:spChg chg="del">
          <ac:chgData name="Anchal  Bhamore" userId="S::2790260@vikes.csuohio.edu::3c0ae9e2-a394-4d39-948f-41c65fba8a73" providerId="AD" clId="Web-{313CFDE5-81DC-4369-3646-B92BA62194F5}" dt="2020-12-02T20:57:16.854" v="508"/>
          <ac:spMkLst>
            <pc:docMk/>
            <pc:sldMk cId="2371235732" sldId="285"/>
            <ac:spMk id="12" creationId="{DCC231C8-C761-4B31-9B1C-C6D19248C6B3}"/>
          </ac:spMkLst>
        </pc:spChg>
        <pc:spChg chg="add del">
          <ac:chgData name="Anchal  Bhamore" userId="S::2790260@vikes.csuohio.edu::3c0ae9e2-a394-4d39-948f-41c65fba8a73" providerId="AD" clId="Web-{313CFDE5-81DC-4369-3646-B92BA62194F5}" dt="2020-12-02T20:57:29.932" v="509"/>
          <ac:spMkLst>
            <pc:docMk/>
            <pc:sldMk cId="2371235732" sldId="285"/>
            <ac:spMk id="18" creationId="{2B566528-1B12-4246-9431-5C2D7D081168}"/>
          </ac:spMkLst>
        </pc:spChg>
        <pc:spChg chg="add del">
          <ac:chgData name="Anchal  Bhamore" userId="S::2790260@vikes.csuohio.edu::3c0ae9e2-a394-4d39-948f-41c65fba8a73" providerId="AD" clId="Web-{313CFDE5-81DC-4369-3646-B92BA62194F5}" dt="2020-12-02T20:57:29.932" v="509"/>
          <ac:spMkLst>
            <pc:docMk/>
            <pc:sldMk cId="2371235732" sldId="285"/>
            <ac:spMk id="20" creationId="{2E80C965-DB6D-4F81-9E9E-B027384D0BD6}"/>
          </ac:spMkLst>
        </pc:spChg>
        <pc:spChg chg="add del">
          <ac:chgData name="Anchal  Bhamore" userId="S::2790260@vikes.csuohio.edu::3c0ae9e2-a394-4d39-948f-41c65fba8a73" providerId="AD" clId="Web-{313CFDE5-81DC-4369-3646-B92BA62194F5}" dt="2020-12-02T20:57:29.932" v="509"/>
          <ac:spMkLst>
            <pc:docMk/>
            <pc:sldMk cId="2371235732" sldId="285"/>
            <ac:spMk id="22" creationId="{A580F890-B085-4E95-96AA-55AEBEC5CE6E}"/>
          </ac:spMkLst>
        </pc:spChg>
        <pc:spChg chg="add del">
          <ac:chgData name="Anchal  Bhamore" userId="S::2790260@vikes.csuohio.edu::3c0ae9e2-a394-4d39-948f-41c65fba8a73" providerId="AD" clId="Web-{313CFDE5-81DC-4369-3646-B92BA62194F5}" dt="2020-12-02T20:57:29.932" v="509"/>
          <ac:spMkLst>
            <pc:docMk/>
            <pc:sldMk cId="2371235732" sldId="285"/>
            <ac:spMk id="24" creationId="{D3F51FEB-38FB-4F6C-9F7B-2F2AFAB65463}"/>
          </ac:spMkLst>
        </pc:spChg>
        <pc:spChg chg="add del">
          <ac:chgData name="Anchal  Bhamore" userId="S::2790260@vikes.csuohio.edu::3c0ae9e2-a394-4d39-948f-41c65fba8a73" providerId="AD" clId="Web-{313CFDE5-81DC-4369-3646-B92BA62194F5}" dt="2020-12-02T20:57:29.932" v="509"/>
          <ac:spMkLst>
            <pc:docMk/>
            <pc:sldMk cId="2371235732" sldId="285"/>
            <ac:spMk id="26" creationId="{1E547BA6-BAE0-43BB-A7CA-60F69CE252F0}"/>
          </ac:spMkLst>
        </pc:spChg>
        <pc:spChg chg="add del">
          <ac:chgData name="Anchal  Bhamore" userId="S::2790260@vikes.csuohio.edu::3c0ae9e2-a394-4d39-948f-41c65fba8a73" providerId="AD" clId="Web-{313CFDE5-81DC-4369-3646-B92BA62194F5}" dt="2020-12-02T20:58:17.683" v="510"/>
          <ac:spMkLst>
            <pc:docMk/>
            <pc:sldMk cId="2371235732" sldId="285"/>
            <ac:spMk id="31" creationId="{B50AB553-2A96-4A92-96F2-93548E096954}"/>
          </ac:spMkLst>
        </pc:spChg>
        <pc:spChg chg="add del">
          <ac:chgData name="Anchal  Bhamore" userId="S::2790260@vikes.csuohio.edu::3c0ae9e2-a394-4d39-948f-41c65fba8a73" providerId="AD" clId="Web-{313CFDE5-81DC-4369-3646-B92BA62194F5}" dt="2020-12-02T20:59:51.310" v="523"/>
          <ac:spMkLst>
            <pc:docMk/>
            <pc:sldMk cId="2371235732" sldId="285"/>
            <ac:spMk id="36" creationId="{952B4610-38D5-4CB6-81BF-0A650217F550}"/>
          </ac:spMkLst>
        </pc:spChg>
        <pc:spChg chg="add del">
          <ac:chgData name="Anchal  Bhamore" userId="S::2790260@vikes.csuohio.edu::3c0ae9e2-a394-4d39-948f-41c65fba8a73" providerId="AD" clId="Web-{313CFDE5-81DC-4369-3646-B92BA62194F5}" dt="2020-12-02T20:59:51.310" v="523"/>
          <ac:spMkLst>
            <pc:docMk/>
            <pc:sldMk cId="2371235732" sldId="285"/>
            <ac:spMk id="41" creationId="{9427AF5F-9A0E-42B7-A252-FD64C9885F9C}"/>
          </ac:spMkLst>
        </pc:spChg>
        <pc:graphicFrameChg chg="mod modGraphic">
          <ac:chgData name="Anchal  Bhamore" userId="S::2790260@vikes.csuohio.edu::3c0ae9e2-a394-4d39-948f-41c65fba8a73" providerId="AD" clId="Web-{313CFDE5-81DC-4369-3646-B92BA62194F5}" dt="2020-12-02T20:59:51.310" v="523"/>
          <ac:graphicFrameMkLst>
            <pc:docMk/>
            <pc:sldMk cId="2371235732" sldId="285"/>
            <ac:graphicFrameMk id="7" creationId="{7B527689-2751-4A20-9A69-77C77BA83BF1}"/>
          </ac:graphicFrameMkLst>
        </pc:graphicFrameChg>
        <pc:picChg chg="add mod ord">
          <ac:chgData name="Anchal  Bhamore" userId="S::2790260@vikes.csuohio.edu::3c0ae9e2-a394-4d39-948f-41c65fba8a73" providerId="AD" clId="Web-{313CFDE5-81DC-4369-3646-B92BA62194F5}" dt="2020-12-02T20:59:51.310" v="523"/>
          <ac:picMkLst>
            <pc:docMk/>
            <pc:sldMk cId="2371235732" sldId="285"/>
            <ac:picMk id="14" creationId="{79574B1B-D15F-43A7-883F-CE34732DC181}"/>
          </ac:picMkLst>
        </pc:picChg>
      </pc:sldChg>
      <pc:sldChg chg="addSp delSp modSp mod setBg setClrOvrMap">
        <pc:chgData name="Anchal  Bhamore" userId="S::2790260@vikes.csuohio.edu::3c0ae9e2-a394-4d39-948f-41c65fba8a73" providerId="AD" clId="Web-{313CFDE5-81DC-4369-3646-B92BA62194F5}" dt="2020-12-02T20:57:00.213" v="507"/>
        <pc:sldMkLst>
          <pc:docMk/>
          <pc:sldMk cId="2742197637" sldId="287"/>
        </pc:sldMkLst>
        <pc:spChg chg="add del">
          <ac:chgData name="Anchal  Bhamore" userId="S::2790260@vikes.csuohio.edu::3c0ae9e2-a394-4d39-948f-41c65fba8a73" providerId="AD" clId="Web-{313CFDE5-81DC-4369-3646-B92BA62194F5}" dt="2020-12-02T20:57:00.213" v="507"/>
          <ac:spMkLst>
            <pc:docMk/>
            <pc:sldMk cId="2742197637" sldId="287"/>
            <ac:spMk id="75" creationId="{B5EF893B-0491-416E-9D33-BADE9600792A}"/>
          </ac:spMkLst>
        </pc:spChg>
        <pc:spChg chg="add">
          <ac:chgData name="Anchal  Bhamore" userId="S::2790260@vikes.csuohio.edu::3c0ae9e2-a394-4d39-948f-41c65fba8a73" providerId="AD" clId="Web-{313CFDE5-81DC-4369-3646-B92BA62194F5}" dt="2020-12-02T20:57:00.213" v="507"/>
          <ac:spMkLst>
            <pc:docMk/>
            <pc:sldMk cId="2742197637" sldId="287"/>
            <ac:spMk id="140" creationId="{F3060C83-F051-4F0E-ABAD-AA0DFC48B218}"/>
          </ac:spMkLst>
        </pc:spChg>
        <pc:spChg chg="add">
          <ac:chgData name="Anchal  Bhamore" userId="S::2790260@vikes.csuohio.edu::3c0ae9e2-a394-4d39-948f-41c65fba8a73" providerId="AD" clId="Web-{313CFDE5-81DC-4369-3646-B92BA62194F5}" dt="2020-12-02T20:57:00.213" v="507"/>
          <ac:spMkLst>
            <pc:docMk/>
            <pc:sldMk cId="2742197637" sldId="287"/>
            <ac:spMk id="142" creationId="{83C98ABE-055B-441F-B07E-44F97F083C39}"/>
          </ac:spMkLst>
        </pc:spChg>
        <pc:spChg chg="add">
          <ac:chgData name="Anchal  Bhamore" userId="S::2790260@vikes.csuohio.edu::3c0ae9e2-a394-4d39-948f-41c65fba8a73" providerId="AD" clId="Web-{313CFDE5-81DC-4369-3646-B92BA62194F5}" dt="2020-12-02T20:57:00.213" v="507"/>
          <ac:spMkLst>
            <pc:docMk/>
            <pc:sldMk cId="2742197637" sldId="287"/>
            <ac:spMk id="144" creationId="{29FDB030-9B49-4CED-8CCD-4D99382388AC}"/>
          </ac:spMkLst>
        </pc:spChg>
        <pc:spChg chg="add">
          <ac:chgData name="Anchal  Bhamore" userId="S::2790260@vikes.csuohio.edu::3c0ae9e2-a394-4d39-948f-41c65fba8a73" providerId="AD" clId="Web-{313CFDE5-81DC-4369-3646-B92BA62194F5}" dt="2020-12-02T20:57:00.213" v="507"/>
          <ac:spMkLst>
            <pc:docMk/>
            <pc:sldMk cId="2742197637" sldId="287"/>
            <ac:spMk id="146" creationId="{3783CA14-24A1-485C-8B30-D6A5D87987AD}"/>
          </ac:spMkLst>
        </pc:spChg>
        <pc:spChg chg="add">
          <ac:chgData name="Anchal  Bhamore" userId="S::2790260@vikes.csuohio.edu::3c0ae9e2-a394-4d39-948f-41c65fba8a73" providerId="AD" clId="Web-{313CFDE5-81DC-4369-3646-B92BA62194F5}" dt="2020-12-02T20:57:00.213" v="507"/>
          <ac:spMkLst>
            <pc:docMk/>
            <pc:sldMk cId="2742197637" sldId="287"/>
            <ac:spMk id="148" creationId="{9A97C86A-04D6-40F7-AE84-31AB43E6A846}"/>
          </ac:spMkLst>
        </pc:spChg>
        <pc:spChg chg="add">
          <ac:chgData name="Anchal  Bhamore" userId="S::2790260@vikes.csuohio.edu::3c0ae9e2-a394-4d39-948f-41c65fba8a73" providerId="AD" clId="Web-{313CFDE5-81DC-4369-3646-B92BA62194F5}" dt="2020-12-02T20:57:00.213" v="507"/>
          <ac:spMkLst>
            <pc:docMk/>
            <pc:sldMk cId="2742197637" sldId="287"/>
            <ac:spMk id="150" creationId="{FF9F2414-84E8-453E-B1F3-389FDE8192D9}"/>
          </ac:spMkLst>
        </pc:spChg>
        <pc:spChg chg="add">
          <ac:chgData name="Anchal  Bhamore" userId="S::2790260@vikes.csuohio.edu::3c0ae9e2-a394-4d39-948f-41c65fba8a73" providerId="AD" clId="Web-{313CFDE5-81DC-4369-3646-B92BA62194F5}" dt="2020-12-02T20:57:00.213" v="507"/>
          <ac:spMkLst>
            <pc:docMk/>
            <pc:sldMk cId="2742197637" sldId="287"/>
            <ac:spMk id="152" creationId="{3ECA69A1-7536-43AC-85EF-C7106179F5ED}"/>
          </ac:spMkLst>
        </pc:spChg>
        <pc:spChg chg="add del">
          <ac:chgData name="Anchal  Bhamore" userId="S::2790260@vikes.csuohio.edu::3c0ae9e2-a394-4d39-948f-41c65fba8a73" providerId="AD" clId="Web-{313CFDE5-81DC-4369-3646-B92BA62194F5}" dt="2020-12-02T20:56:08.868" v="497"/>
          <ac:spMkLst>
            <pc:docMk/>
            <pc:sldMk cId="2742197637" sldId="287"/>
            <ac:spMk id="2052" creationId="{A2509F26-B5DC-4BA7-B476-4CB044237A2E}"/>
          </ac:spMkLst>
        </pc:spChg>
        <pc:spChg chg="add del">
          <ac:chgData name="Anchal  Bhamore" userId="S::2790260@vikes.csuohio.edu::3c0ae9e2-a394-4d39-948f-41c65fba8a73" providerId="AD" clId="Web-{313CFDE5-81DC-4369-3646-B92BA62194F5}" dt="2020-12-02T20:56:08.868" v="497"/>
          <ac:spMkLst>
            <pc:docMk/>
            <pc:sldMk cId="2742197637" sldId="287"/>
            <ac:spMk id="2053" creationId="{DB103EB1-B135-4526-B883-33228FC27FF1}"/>
          </ac:spMkLst>
        </pc:spChg>
        <pc:spChg chg="add del">
          <ac:chgData name="Anchal  Bhamore" userId="S::2790260@vikes.csuohio.edu::3c0ae9e2-a394-4d39-948f-41c65fba8a73" providerId="AD" clId="Web-{313CFDE5-81DC-4369-3646-B92BA62194F5}" dt="2020-12-02T20:57:00.213" v="507"/>
          <ac:spMkLst>
            <pc:docMk/>
            <pc:sldMk cId="2742197637" sldId="287"/>
            <ac:spMk id="2054" creationId="{3DAD86CA-8235-409B-982B-5E7A033E2392}"/>
          </ac:spMkLst>
        </pc:spChg>
        <pc:spChg chg="add del">
          <ac:chgData name="Anchal  Bhamore" userId="S::2790260@vikes.csuohio.edu::3c0ae9e2-a394-4d39-948f-41c65fba8a73" providerId="AD" clId="Web-{313CFDE5-81DC-4369-3646-B92BA62194F5}" dt="2020-12-02T20:57:00.213" v="507"/>
          <ac:spMkLst>
            <pc:docMk/>
            <pc:sldMk cId="2742197637" sldId="287"/>
            <ac:spMk id="2055" creationId="{9F234FBA-3501-47B4-AE0C-AA4AFBC8F603}"/>
          </ac:spMkLst>
        </pc:spChg>
        <pc:picChg chg="add del mod">
          <ac:chgData name="Anchal  Bhamore" userId="S::2790260@vikes.csuohio.edu::3c0ae9e2-a394-4d39-948f-41c65fba8a73" providerId="AD" clId="Web-{313CFDE5-81DC-4369-3646-B92BA62194F5}" dt="2020-12-02T20:57:00.213" v="507"/>
          <ac:picMkLst>
            <pc:docMk/>
            <pc:sldMk cId="2742197637" sldId="287"/>
            <ac:picMk id="2050" creationId="{636D30F3-F15C-48D3-96C7-D94D185D4522}"/>
          </ac:picMkLst>
        </pc:picChg>
        <pc:cxnChg chg="add del">
          <ac:chgData name="Anchal  Bhamore" userId="S::2790260@vikes.csuohio.edu::3c0ae9e2-a394-4d39-948f-41c65fba8a73" providerId="AD" clId="Web-{313CFDE5-81DC-4369-3646-B92BA62194F5}" dt="2020-12-02T20:57:00.213" v="507"/>
          <ac:cxnSpMkLst>
            <pc:docMk/>
            <pc:sldMk cId="2742197637" sldId="287"/>
            <ac:cxnSpMk id="77" creationId="{469F4FF8-F8B0-4630-BA1B-0D8B324CD5FF}"/>
          </ac:cxnSpMkLst>
        </pc:cxnChg>
      </pc:sldChg>
    </pc:docChg>
  </pc:docChgLst>
  <pc:docChgLst>
    <pc:chgData name="Anchal  Bhamore" userId="S::2790260@vikes.csuohio.edu::3c0ae9e2-a394-4d39-948f-41c65fba8a73" providerId="AD" clId="Web-{8D39CC4C-7613-5AB4-6B69-68D6BD138F4D}"/>
    <pc:docChg chg="addSld delSld modSld sldOrd">
      <pc:chgData name="Anchal  Bhamore" userId="S::2790260@vikes.csuohio.edu::3c0ae9e2-a394-4d39-948f-41c65fba8a73" providerId="AD" clId="Web-{8D39CC4C-7613-5AB4-6B69-68D6BD138F4D}" dt="2020-12-01T00:06:04.725" v="1218"/>
      <pc:docMkLst>
        <pc:docMk/>
      </pc:docMkLst>
      <pc:sldChg chg="modSp">
        <pc:chgData name="Anchal  Bhamore" userId="S::2790260@vikes.csuohio.edu::3c0ae9e2-a394-4d39-948f-41c65fba8a73" providerId="AD" clId="Web-{8D39CC4C-7613-5AB4-6B69-68D6BD138F4D}" dt="2020-11-30T23:29:05.618" v="1210" actId="1076"/>
        <pc:sldMkLst>
          <pc:docMk/>
          <pc:sldMk cId="610735677" sldId="259"/>
        </pc:sldMkLst>
        <pc:spChg chg="mod">
          <ac:chgData name="Anchal  Bhamore" userId="S::2790260@vikes.csuohio.edu::3c0ae9e2-a394-4d39-948f-41c65fba8a73" providerId="AD" clId="Web-{8D39CC4C-7613-5AB4-6B69-68D6BD138F4D}" dt="2020-11-30T23:29:05.618" v="1210" actId="1076"/>
          <ac:spMkLst>
            <pc:docMk/>
            <pc:sldMk cId="610735677" sldId="259"/>
            <ac:spMk id="2" creationId="{7B56B445-DC82-47A0-A651-0245BC75F10F}"/>
          </ac:spMkLst>
        </pc:spChg>
      </pc:sldChg>
      <pc:sldChg chg="modSp">
        <pc:chgData name="Anchal  Bhamore" userId="S::2790260@vikes.csuohio.edu::3c0ae9e2-a394-4d39-948f-41c65fba8a73" providerId="AD" clId="Web-{8D39CC4C-7613-5AB4-6B69-68D6BD138F4D}" dt="2020-11-30T23:33:44.635" v="1214" actId="20577"/>
        <pc:sldMkLst>
          <pc:docMk/>
          <pc:sldMk cId="2266807988" sldId="261"/>
        </pc:sldMkLst>
        <pc:spChg chg="mod">
          <ac:chgData name="Anchal  Bhamore" userId="S::2790260@vikes.csuohio.edu::3c0ae9e2-a394-4d39-948f-41c65fba8a73" providerId="AD" clId="Web-{8D39CC4C-7613-5AB4-6B69-68D6BD138F4D}" dt="2020-11-30T23:33:44.635" v="1214" actId="20577"/>
          <ac:spMkLst>
            <pc:docMk/>
            <pc:sldMk cId="2266807988" sldId="261"/>
            <ac:spMk id="2" creationId="{63CEFC1D-695E-4CCE-B3F0-847390E14E19}"/>
          </ac:spMkLst>
        </pc:spChg>
      </pc:sldChg>
      <pc:sldChg chg="modSp">
        <pc:chgData name="Anchal  Bhamore" userId="S::2790260@vikes.csuohio.edu::3c0ae9e2-a394-4d39-948f-41c65fba8a73" providerId="AD" clId="Web-{8D39CC4C-7613-5AB4-6B69-68D6BD138F4D}" dt="2020-11-30T23:26:51.751" v="1187"/>
        <pc:sldMkLst>
          <pc:docMk/>
          <pc:sldMk cId="720775272" sldId="267"/>
        </pc:sldMkLst>
        <pc:graphicFrameChg chg="mod modGraphic">
          <ac:chgData name="Anchal  Bhamore" userId="S::2790260@vikes.csuohio.edu::3c0ae9e2-a394-4d39-948f-41c65fba8a73" providerId="AD" clId="Web-{8D39CC4C-7613-5AB4-6B69-68D6BD138F4D}" dt="2020-11-30T23:26:51.751" v="1187"/>
          <ac:graphicFrameMkLst>
            <pc:docMk/>
            <pc:sldMk cId="720775272" sldId="267"/>
            <ac:graphicFrameMk id="4" creationId="{287D5891-C110-4D15-9C32-61633027EFAF}"/>
          </ac:graphicFrameMkLst>
        </pc:graphicFrameChg>
      </pc:sldChg>
      <pc:sldChg chg="addSp delSp modSp">
        <pc:chgData name="Anchal  Bhamore" userId="S::2790260@vikes.csuohio.edu::3c0ae9e2-a394-4d39-948f-41c65fba8a73" providerId="AD" clId="Web-{8D39CC4C-7613-5AB4-6B69-68D6BD138F4D}" dt="2020-11-30T23:01:35.502" v="862" actId="20577"/>
        <pc:sldMkLst>
          <pc:docMk/>
          <pc:sldMk cId="1704361268" sldId="268"/>
        </pc:sldMkLst>
        <pc:spChg chg="mod">
          <ac:chgData name="Anchal  Bhamore" userId="S::2790260@vikes.csuohio.edu::3c0ae9e2-a394-4d39-948f-41c65fba8a73" providerId="AD" clId="Web-{8D39CC4C-7613-5AB4-6B69-68D6BD138F4D}" dt="2020-11-30T23:01:35.502" v="862" actId="20577"/>
          <ac:spMkLst>
            <pc:docMk/>
            <pc:sldMk cId="1704361268" sldId="268"/>
            <ac:spMk id="2" creationId="{CA2E3049-03A0-4F7D-987B-924CC0066E7E}"/>
          </ac:spMkLst>
        </pc:spChg>
        <pc:spChg chg="del">
          <ac:chgData name="Anchal  Bhamore" userId="S::2790260@vikes.csuohio.edu::3c0ae9e2-a394-4d39-948f-41c65fba8a73" providerId="AD" clId="Web-{8D39CC4C-7613-5AB4-6B69-68D6BD138F4D}" dt="2020-11-30T22:58:52.336" v="712"/>
          <ac:spMkLst>
            <pc:docMk/>
            <pc:sldMk cId="1704361268" sldId="268"/>
            <ac:spMk id="22" creationId="{017517EF-BD4D-4055-BDB4-A322C53568AD}"/>
          </ac:spMkLst>
        </pc:spChg>
        <pc:spChg chg="del">
          <ac:chgData name="Anchal  Bhamore" userId="S::2790260@vikes.csuohio.edu::3c0ae9e2-a394-4d39-948f-41c65fba8a73" providerId="AD" clId="Web-{8D39CC4C-7613-5AB4-6B69-68D6BD138F4D}" dt="2020-11-30T22:58:52.336" v="712"/>
          <ac:spMkLst>
            <pc:docMk/>
            <pc:sldMk cId="1704361268" sldId="268"/>
            <ac:spMk id="24" creationId="{0ADDB668-2CA4-4D2B-9C34-3487CA330BA8}"/>
          </ac:spMkLst>
        </pc:spChg>
        <pc:spChg chg="del">
          <ac:chgData name="Anchal  Bhamore" userId="S::2790260@vikes.csuohio.edu::3c0ae9e2-a394-4d39-948f-41c65fba8a73" providerId="AD" clId="Web-{8D39CC4C-7613-5AB4-6B69-68D6BD138F4D}" dt="2020-11-30T22:58:52.336" v="712"/>
          <ac:spMkLst>
            <pc:docMk/>
            <pc:sldMk cId="1704361268" sldId="268"/>
            <ac:spMk id="26" creationId="{2568BC19-F052-4108-93E1-6A3D1DEC072F}"/>
          </ac:spMkLst>
        </pc:spChg>
        <pc:spChg chg="del">
          <ac:chgData name="Anchal  Bhamore" userId="S::2790260@vikes.csuohio.edu::3c0ae9e2-a394-4d39-948f-41c65fba8a73" providerId="AD" clId="Web-{8D39CC4C-7613-5AB4-6B69-68D6BD138F4D}" dt="2020-11-30T22:58:52.336" v="712"/>
          <ac:spMkLst>
            <pc:docMk/>
            <pc:sldMk cId="1704361268" sldId="268"/>
            <ac:spMk id="28" creationId="{D5FD337D-4D6B-4C8B-B6F5-121097E09881}"/>
          </ac:spMkLst>
        </pc:spChg>
        <pc:spChg chg="add del">
          <ac:chgData name="Anchal  Bhamore" userId="S::2790260@vikes.csuohio.edu::3c0ae9e2-a394-4d39-948f-41c65fba8a73" providerId="AD" clId="Web-{8D39CC4C-7613-5AB4-6B69-68D6BD138F4D}" dt="2020-11-30T23:00:55.421" v="780"/>
          <ac:spMkLst>
            <pc:docMk/>
            <pc:sldMk cId="1704361268" sldId="268"/>
            <ac:spMk id="33" creationId="{A4AC5506-6312-4701-8D3C-40187889A947}"/>
          </ac:spMkLst>
        </pc:spChg>
        <pc:spChg chg="add">
          <ac:chgData name="Anchal  Bhamore" userId="S::2790260@vikes.csuohio.edu::3c0ae9e2-a394-4d39-948f-41c65fba8a73" providerId="AD" clId="Web-{8D39CC4C-7613-5AB4-6B69-68D6BD138F4D}" dt="2020-11-30T23:00:55.421" v="780"/>
          <ac:spMkLst>
            <pc:docMk/>
            <pc:sldMk cId="1704361268" sldId="268"/>
            <ac:spMk id="38" creationId="{A4AC5506-6312-4701-8D3C-40187889A947}"/>
          </ac:spMkLst>
        </pc:spChg>
        <pc:graphicFrameChg chg="mod modGraphic">
          <ac:chgData name="Anchal  Bhamore" userId="S::2790260@vikes.csuohio.edu::3c0ae9e2-a394-4d39-948f-41c65fba8a73" providerId="AD" clId="Web-{8D39CC4C-7613-5AB4-6B69-68D6BD138F4D}" dt="2020-11-30T23:01:17.766" v="861"/>
          <ac:graphicFrameMkLst>
            <pc:docMk/>
            <pc:sldMk cId="1704361268" sldId="268"/>
            <ac:graphicFrameMk id="7" creationId="{DD3369CA-EC43-49CC-B44A-AC6C39C6C088}"/>
          </ac:graphicFrameMkLst>
        </pc:graphicFrameChg>
      </pc:sldChg>
      <pc:sldChg chg="addSp delSp modSp">
        <pc:chgData name="Anchal  Bhamore" userId="S::2790260@vikes.csuohio.edu::3c0ae9e2-a394-4d39-948f-41c65fba8a73" providerId="AD" clId="Web-{8D39CC4C-7613-5AB4-6B69-68D6BD138F4D}" dt="2020-11-30T23:02:11.504" v="876" actId="1076"/>
        <pc:sldMkLst>
          <pc:docMk/>
          <pc:sldMk cId="814600342" sldId="269"/>
        </pc:sldMkLst>
        <pc:spChg chg="mod">
          <ac:chgData name="Anchal  Bhamore" userId="S::2790260@vikes.csuohio.edu::3c0ae9e2-a394-4d39-948f-41c65fba8a73" providerId="AD" clId="Web-{8D39CC4C-7613-5AB4-6B69-68D6BD138F4D}" dt="2020-11-30T23:02:11.504" v="876" actId="1076"/>
          <ac:spMkLst>
            <pc:docMk/>
            <pc:sldMk cId="814600342" sldId="269"/>
            <ac:spMk id="2" creationId="{7E1E9DA8-6D7D-4E48-A686-429CA77B4A20}"/>
          </ac:spMkLst>
        </pc:spChg>
        <pc:spChg chg="add del">
          <ac:chgData name="Anchal  Bhamore" userId="S::2790260@vikes.csuohio.edu::3c0ae9e2-a394-4d39-948f-41c65fba8a73" providerId="AD" clId="Web-{8D39CC4C-7613-5AB4-6B69-68D6BD138F4D}" dt="2020-11-30T22:58:27.740" v="710"/>
          <ac:spMkLst>
            <pc:docMk/>
            <pc:sldMk cId="814600342" sldId="269"/>
            <ac:spMk id="69" creationId="{823AC064-BC96-4F32-8AE1-B2FD38754823}"/>
          </ac:spMkLst>
        </pc:spChg>
        <pc:spChg chg="add del">
          <ac:chgData name="Anchal  Bhamore" userId="S::2790260@vikes.csuohio.edu::3c0ae9e2-a394-4d39-948f-41c65fba8a73" providerId="AD" clId="Web-{8D39CC4C-7613-5AB4-6B69-68D6BD138F4D}" dt="2020-11-30T22:56:52.735" v="698"/>
          <ac:spMkLst>
            <pc:docMk/>
            <pc:sldMk cId="814600342" sldId="269"/>
            <ac:spMk id="137" creationId="{9267F70F-11C6-4597-9381-D0D80FC18FD9}"/>
          </ac:spMkLst>
        </pc:spChg>
        <pc:spChg chg="add del">
          <ac:chgData name="Anchal  Bhamore" userId="S::2790260@vikes.csuohio.edu::3c0ae9e2-a394-4d39-948f-41c65fba8a73" providerId="AD" clId="Web-{8D39CC4C-7613-5AB4-6B69-68D6BD138F4D}" dt="2020-11-30T22:56:52.735" v="698"/>
          <ac:spMkLst>
            <pc:docMk/>
            <pc:sldMk cId="814600342" sldId="269"/>
            <ac:spMk id="139" creationId="{2C20A93E-E407-4683-A405-147DE26132AD}"/>
          </ac:spMkLst>
        </pc:spChg>
        <pc:spChg chg="add del">
          <ac:chgData name="Anchal  Bhamore" userId="S::2790260@vikes.csuohio.edu::3c0ae9e2-a394-4d39-948f-41c65fba8a73" providerId="AD" clId="Web-{8D39CC4C-7613-5AB4-6B69-68D6BD138F4D}" dt="2020-11-30T22:56:52.735" v="698"/>
          <ac:spMkLst>
            <pc:docMk/>
            <pc:sldMk cId="814600342" sldId="269"/>
            <ac:spMk id="141" creationId="{9E8E3DD9-D235-48D9-A0EC-D6817EC84B75}"/>
          </ac:spMkLst>
        </pc:spChg>
        <pc:spChg chg="add del">
          <ac:chgData name="Anchal  Bhamore" userId="S::2790260@vikes.csuohio.edu::3c0ae9e2-a394-4d39-948f-41c65fba8a73" providerId="AD" clId="Web-{8D39CC4C-7613-5AB4-6B69-68D6BD138F4D}" dt="2020-11-30T22:56:52.735" v="698"/>
          <ac:spMkLst>
            <pc:docMk/>
            <pc:sldMk cId="814600342" sldId="269"/>
            <ac:spMk id="143" creationId="{EA83A145-578D-4A0B-94A7-AEAB2027D7EB}"/>
          </ac:spMkLst>
        </pc:spChg>
        <pc:spChg chg="add del">
          <ac:chgData name="Anchal  Bhamore" userId="S::2790260@vikes.csuohio.edu::3c0ae9e2-a394-4d39-948f-41c65fba8a73" providerId="AD" clId="Web-{8D39CC4C-7613-5AB4-6B69-68D6BD138F4D}" dt="2020-11-30T22:58:27.740" v="710"/>
          <ac:spMkLst>
            <pc:docMk/>
            <pc:sldMk cId="814600342" sldId="269"/>
            <ac:spMk id="192" creationId="{96918796-2918-40D6-BE3A-4600C47FCD42}"/>
          </ac:spMkLst>
        </pc:spChg>
        <pc:spChg chg="add del">
          <ac:chgData name="Anchal  Bhamore" userId="S::2790260@vikes.csuohio.edu::3c0ae9e2-a394-4d39-948f-41c65fba8a73" providerId="AD" clId="Web-{8D39CC4C-7613-5AB4-6B69-68D6BD138F4D}" dt="2020-11-30T22:56:52.735" v="698"/>
          <ac:spMkLst>
            <pc:docMk/>
            <pc:sldMk cId="814600342" sldId="269"/>
            <ac:spMk id="9220" creationId="{19245A10-7F37-4569-80D2-2F692931E300}"/>
          </ac:spMkLst>
        </pc:spChg>
        <pc:picChg chg="add mod">
          <ac:chgData name="Anchal  Bhamore" userId="S::2790260@vikes.csuohio.edu::3c0ae9e2-a394-4d39-948f-41c65fba8a73" providerId="AD" clId="Web-{8D39CC4C-7613-5AB4-6B69-68D6BD138F4D}" dt="2020-11-30T22:58:27.740" v="710"/>
          <ac:picMkLst>
            <pc:docMk/>
            <pc:sldMk cId="814600342" sldId="269"/>
            <ac:picMk id="3" creationId="{8F029DED-8F3F-461C-B728-A0DCC7F55887}"/>
          </ac:picMkLst>
        </pc:picChg>
        <pc:picChg chg="add mod">
          <ac:chgData name="Anchal  Bhamore" userId="S::2790260@vikes.csuohio.edu::3c0ae9e2-a394-4d39-948f-41c65fba8a73" providerId="AD" clId="Web-{8D39CC4C-7613-5AB4-6B69-68D6BD138F4D}" dt="2020-11-30T22:58:36.788" v="711" actId="14100"/>
          <ac:picMkLst>
            <pc:docMk/>
            <pc:sldMk cId="814600342" sldId="269"/>
            <ac:picMk id="4" creationId="{63BCC0D4-5662-414D-8E9A-5B29DB359468}"/>
          </ac:picMkLst>
        </pc:picChg>
        <pc:picChg chg="del mod">
          <ac:chgData name="Anchal  Bhamore" userId="S::2790260@vikes.csuohio.edu::3c0ae9e2-a394-4d39-948f-41c65fba8a73" providerId="AD" clId="Web-{8D39CC4C-7613-5AB4-6B69-68D6BD138F4D}" dt="2020-11-30T22:56:36.062" v="696"/>
          <ac:picMkLst>
            <pc:docMk/>
            <pc:sldMk cId="814600342" sldId="269"/>
            <ac:picMk id="8" creationId="{75B0BF99-A8F3-4F58-B6B6-8AFF7FC2C095}"/>
          </ac:picMkLst>
        </pc:picChg>
        <pc:picChg chg="del mod ord">
          <ac:chgData name="Anchal  Bhamore" userId="S::2790260@vikes.csuohio.edu::3c0ae9e2-a394-4d39-948f-41c65fba8a73" providerId="AD" clId="Web-{8D39CC4C-7613-5AB4-6B69-68D6BD138F4D}" dt="2020-11-30T22:57:21.033" v="699"/>
          <ac:picMkLst>
            <pc:docMk/>
            <pc:sldMk cId="814600342" sldId="269"/>
            <ac:picMk id="9218" creationId="{C8AA3EFD-41BC-4E06-AF38-8E6327FBFE8F}"/>
          </ac:picMkLst>
        </pc:picChg>
        <pc:cxnChg chg="add del">
          <ac:chgData name="Anchal  Bhamore" userId="S::2790260@vikes.csuohio.edu::3c0ae9e2-a394-4d39-948f-41c65fba8a73" providerId="AD" clId="Web-{8D39CC4C-7613-5AB4-6B69-68D6BD138F4D}" dt="2020-11-30T22:58:27.740" v="710"/>
          <ac:cxnSpMkLst>
            <pc:docMk/>
            <pc:sldMk cId="814600342" sldId="269"/>
            <ac:cxnSpMk id="71" creationId="{7E7C77BC-7138-40B1-A15B-20F57A494629}"/>
          </ac:cxnSpMkLst>
        </pc:cxnChg>
        <pc:cxnChg chg="add del">
          <ac:chgData name="Anchal  Bhamore" userId="S::2790260@vikes.csuohio.edu::3c0ae9e2-a394-4d39-948f-41c65fba8a73" providerId="AD" clId="Web-{8D39CC4C-7613-5AB4-6B69-68D6BD138F4D}" dt="2020-11-30T22:58:27.740" v="710"/>
          <ac:cxnSpMkLst>
            <pc:docMk/>
            <pc:sldMk cId="814600342" sldId="269"/>
            <ac:cxnSpMk id="73" creationId="{DB146403-F3D6-484B-B2ED-97F9565D0370}"/>
          </ac:cxnSpMkLst>
        </pc:cxnChg>
      </pc:sldChg>
      <pc:sldChg chg="addSp delSp modSp">
        <pc:chgData name="Anchal  Bhamore" userId="S::2790260@vikes.csuohio.edu::3c0ae9e2-a394-4d39-948f-41c65fba8a73" providerId="AD" clId="Web-{8D39CC4C-7613-5AB4-6B69-68D6BD138F4D}" dt="2020-11-30T22:54:36.555" v="689"/>
        <pc:sldMkLst>
          <pc:docMk/>
          <pc:sldMk cId="4021630271" sldId="270"/>
        </pc:sldMkLst>
        <pc:spChg chg="mod">
          <ac:chgData name="Anchal  Bhamore" userId="S::2790260@vikes.csuohio.edu::3c0ae9e2-a394-4d39-948f-41c65fba8a73" providerId="AD" clId="Web-{8D39CC4C-7613-5AB4-6B69-68D6BD138F4D}" dt="2020-11-30T22:54:26.304" v="686"/>
          <ac:spMkLst>
            <pc:docMk/>
            <pc:sldMk cId="4021630271" sldId="270"/>
            <ac:spMk id="2" creationId="{EB716928-8AC8-4E6C-A9C4-E7C3C37744F4}"/>
          </ac:spMkLst>
        </pc:spChg>
        <pc:spChg chg="del">
          <ac:chgData name="Anchal  Bhamore" userId="S::2790260@vikes.csuohio.edu::3c0ae9e2-a394-4d39-948f-41c65fba8a73" providerId="AD" clId="Web-{8D39CC4C-7613-5AB4-6B69-68D6BD138F4D}" dt="2020-11-30T22:53:13.346" v="657"/>
          <ac:spMkLst>
            <pc:docMk/>
            <pc:sldMk cId="4021630271" sldId="270"/>
            <ac:spMk id="10" creationId="{69E6EFEE-6516-482C-B143-F97F9BF89D0E}"/>
          </ac:spMkLst>
        </pc:spChg>
        <pc:spChg chg="del">
          <ac:chgData name="Anchal  Bhamore" userId="S::2790260@vikes.csuohio.edu::3c0ae9e2-a394-4d39-948f-41c65fba8a73" providerId="AD" clId="Web-{8D39CC4C-7613-5AB4-6B69-68D6BD138F4D}" dt="2020-11-30T22:53:13.346" v="657"/>
          <ac:spMkLst>
            <pc:docMk/>
            <pc:sldMk cId="4021630271" sldId="270"/>
            <ac:spMk id="12" creationId="{3DF0D2C0-CD0C-470C-8851-D8B2CC417CB9}"/>
          </ac:spMkLst>
        </pc:spChg>
        <pc:spChg chg="add del mod">
          <ac:chgData name="Anchal  Bhamore" userId="S::2790260@vikes.csuohio.edu::3c0ae9e2-a394-4d39-948f-41c65fba8a73" providerId="AD" clId="Web-{8D39CC4C-7613-5AB4-6B69-68D6BD138F4D}" dt="2020-11-30T22:51:18.386" v="559"/>
          <ac:spMkLst>
            <pc:docMk/>
            <pc:sldMk cId="4021630271" sldId="270"/>
            <ac:spMk id="29" creationId="{00CC9226-D961-4318-B235-34DBEB739DC7}"/>
          </ac:spMkLst>
        </pc:spChg>
        <pc:spChg chg="add mod">
          <ac:chgData name="Anchal  Bhamore" userId="S::2790260@vikes.csuohio.edu::3c0ae9e2-a394-4d39-948f-41c65fba8a73" providerId="AD" clId="Web-{8D39CC4C-7613-5AB4-6B69-68D6BD138F4D}" dt="2020-11-30T22:53:13.346" v="657"/>
          <ac:spMkLst>
            <pc:docMk/>
            <pc:sldMk cId="4021630271" sldId="270"/>
            <ac:spMk id="32" creationId="{8EDF4E37-93A6-4974-B5CB-315E2D2BD2B5}"/>
          </ac:spMkLst>
        </pc:spChg>
        <pc:spChg chg="add del">
          <ac:chgData name="Anchal  Bhamore" userId="S::2790260@vikes.csuohio.edu::3c0ae9e2-a394-4d39-948f-41c65fba8a73" providerId="AD" clId="Web-{8D39CC4C-7613-5AB4-6B69-68D6BD138F4D}" dt="2020-11-30T22:54:33.367" v="688"/>
          <ac:spMkLst>
            <pc:docMk/>
            <pc:sldMk cId="4021630271" sldId="270"/>
            <ac:spMk id="37" creationId="{A4AC5506-6312-4701-8D3C-40187889A947}"/>
          </ac:spMkLst>
        </pc:spChg>
        <pc:spChg chg="add del">
          <ac:chgData name="Anchal  Bhamore" userId="S::2790260@vikes.csuohio.edu::3c0ae9e2-a394-4d39-948f-41c65fba8a73" providerId="AD" clId="Web-{8D39CC4C-7613-5AB4-6B69-68D6BD138F4D}" dt="2020-11-30T22:54:33.367" v="688"/>
          <ac:spMkLst>
            <pc:docMk/>
            <pc:sldMk cId="4021630271" sldId="270"/>
            <ac:spMk id="39" creationId="{A4AC5506-6312-4701-8D3C-40187889A947}"/>
          </ac:spMkLst>
        </pc:spChg>
        <pc:spChg chg="add del">
          <ac:chgData name="Anchal  Bhamore" userId="S::2790260@vikes.csuohio.edu::3c0ae9e2-a394-4d39-948f-41c65fba8a73" providerId="AD" clId="Web-{8D39CC4C-7613-5AB4-6B69-68D6BD138F4D}" dt="2020-11-30T22:54:26.304" v="686"/>
          <ac:spMkLst>
            <pc:docMk/>
            <pc:sldMk cId="4021630271" sldId="270"/>
            <ac:spMk id="44" creationId="{7F57BEA8-497D-4AA8-8A18-BDCD696B25FE}"/>
          </ac:spMkLst>
        </pc:spChg>
        <pc:graphicFrameChg chg="del">
          <ac:chgData name="Anchal  Bhamore" userId="S::2790260@vikes.csuohio.edu::3c0ae9e2-a394-4d39-948f-41c65fba8a73" providerId="AD" clId="Web-{8D39CC4C-7613-5AB4-6B69-68D6BD138F4D}" dt="2020-11-30T22:51:09.589" v="558"/>
          <ac:graphicFrameMkLst>
            <pc:docMk/>
            <pc:sldMk cId="4021630271" sldId="270"/>
            <ac:graphicFrameMk id="5" creationId="{ABC9CE05-1D29-4853-9036-B4E5E99A8A7B}"/>
          </ac:graphicFrameMkLst>
        </pc:graphicFrameChg>
        <pc:graphicFrameChg chg="add mod ord modGraphic">
          <ac:chgData name="Anchal  Bhamore" userId="S::2790260@vikes.csuohio.edu::3c0ae9e2-a394-4d39-948f-41c65fba8a73" providerId="AD" clId="Web-{8D39CC4C-7613-5AB4-6B69-68D6BD138F4D}" dt="2020-11-30T22:54:36.555" v="689"/>
          <ac:graphicFrameMkLst>
            <pc:docMk/>
            <pc:sldMk cId="4021630271" sldId="270"/>
            <ac:graphicFrameMk id="31" creationId="{0D2E707B-1F62-433A-B6A1-86B2901D85C6}"/>
          </ac:graphicFrameMkLst>
        </pc:graphicFrameChg>
        <pc:cxnChg chg="add del">
          <ac:chgData name="Anchal  Bhamore" userId="S::2790260@vikes.csuohio.edu::3c0ae9e2-a394-4d39-948f-41c65fba8a73" providerId="AD" clId="Web-{8D39CC4C-7613-5AB4-6B69-68D6BD138F4D}" dt="2020-11-30T22:54:26.304" v="686"/>
          <ac:cxnSpMkLst>
            <pc:docMk/>
            <pc:sldMk cId="4021630271" sldId="270"/>
            <ac:cxnSpMk id="42" creationId="{D2E961F1-4A28-4A5F-BBD4-6E400E5E6C75}"/>
          </ac:cxnSpMkLst>
        </pc:cxnChg>
        <pc:cxnChg chg="add del">
          <ac:chgData name="Anchal  Bhamore" userId="S::2790260@vikes.csuohio.edu::3c0ae9e2-a394-4d39-948f-41c65fba8a73" providerId="AD" clId="Web-{8D39CC4C-7613-5AB4-6B69-68D6BD138F4D}" dt="2020-11-30T22:54:26.304" v="686"/>
          <ac:cxnSpMkLst>
            <pc:docMk/>
            <pc:sldMk cId="4021630271" sldId="270"/>
            <ac:cxnSpMk id="46" creationId="{A82415D3-DDE5-4D63-8CB3-23A5EC581B27}"/>
          </ac:cxnSpMkLst>
        </pc:cxnChg>
        <pc:cxnChg chg="add del">
          <ac:chgData name="Anchal  Bhamore" userId="S::2790260@vikes.csuohio.edu::3c0ae9e2-a394-4d39-948f-41c65fba8a73" providerId="AD" clId="Web-{8D39CC4C-7613-5AB4-6B69-68D6BD138F4D}" dt="2020-11-30T22:54:26.304" v="686"/>
          <ac:cxnSpMkLst>
            <pc:docMk/>
            <pc:sldMk cId="4021630271" sldId="270"/>
            <ac:cxnSpMk id="48" creationId="{AD7193FB-6AE6-4B3B-8F89-56B55DD63B4D}"/>
          </ac:cxnSpMkLst>
        </pc:cxnChg>
      </pc:sldChg>
      <pc:sldChg chg="delSp modSp del">
        <pc:chgData name="Anchal  Bhamore" userId="S::2790260@vikes.csuohio.edu::3c0ae9e2-a394-4d39-948f-41c65fba8a73" providerId="AD" clId="Web-{8D39CC4C-7613-5AB4-6B69-68D6BD138F4D}" dt="2020-11-30T22:48:09.078" v="432"/>
        <pc:sldMkLst>
          <pc:docMk/>
          <pc:sldMk cId="581668791" sldId="271"/>
        </pc:sldMkLst>
        <pc:graphicFrameChg chg="del mod modGraphic">
          <ac:chgData name="Anchal  Bhamore" userId="S::2790260@vikes.csuohio.edu::3c0ae9e2-a394-4d39-948f-41c65fba8a73" providerId="AD" clId="Web-{8D39CC4C-7613-5AB4-6B69-68D6BD138F4D}" dt="2020-11-30T22:46:50.073" v="429"/>
          <ac:graphicFrameMkLst>
            <pc:docMk/>
            <pc:sldMk cId="581668791" sldId="271"/>
            <ac:graphicFrameMk id="14" creationId="{645A298F-85F6-469E-98D0-55EFA89EDE08}"/>
          </ac:graphicFrameMkLst>
        </pc:graphicFrameChg>
      </pc:sldChg>
      <pc:sldChg chg="addSp delSp modSp">
        <pc:chgData name="Anchal  Bhamore" userId="S::2790260@vikes.csuohio.edu::3c0ae9e2-a394-4d39-948f-41c65fba8a73" providerId="AD" clId="Web-{8D39CC4C-7613-5AB4-6B69-68D6BD138F4D}" dt="2020-11-30T23:24:38.774" v="1149"/>
        <pc:sldMkLst>
          <pc:docMk/>
          <pc:sldMk cId="3350954519" sldId="272"/>
        </pc:sldMkLst>
        <pc:spChg chg="mod">
          <ac:chgData name="Anchal  Bhamore" userId="S::2790260@vikes.csuohio.edu::3c0ae9e2-a394-4d39-948f-41c65fba8a73" providerId="AD" clId="Web-{8D39CC4C-7613-5AB4-6B69-68D6BD138F4D}" dt="2020-11-30T23:24:38.774" v="1149"/>
          <ac:spMkLst>
            <pc:docMk/>
            <pc:sldMk cId="3350954519" sldId="272"/>
            <ac:spMk id="2" creationId="{AB20FA96-0B0C-40D1-839A-9A7B61B5621E}"/>
          </ac:spMkLst>
        </pc:spChg>
        <pc:spChg chg="add del">
          <ac:chgData name="Anchal  Bhamore" userId="S::2790260@vikes.csuohio.edu::3c0ae9e2-a394-4d39-948f-41c65fba8a73" providerId="AD" clId="Web-{8D39CC4C-7613-5AB4-6B69-68D6BD138F4D}" dt="2020-11-30T23:24:38.774" v="1149"/>
          <ac:spMkLst>
            <pc:docMk/>
            <pc:sldMk cId="3350954519" sldId="272"/>
            <ac:spMk id="9" creationId="{68575C10-8187-4AC4-AD72-C754EAFD2867}"/>
          </ac:spMkLst>
        </pc:spChg>
        <pc:spChg chg="add del">
          <ac:chgData name="Anchal  Bhamore" userId="S::2790260@vikes.csuohio.edu::3c0ae9e2-a394-4d39-948f-41c65fba8a73" providerId="AD" clId="Web-{8D39CC4C-7613-5AB4-6B69-68D6BD138F4D}" dt="2020-11-30T23:24:38.774" v="1149"/>
          <ac:spMkLst>
            <pc:docMk/>
            <pc:sldMk cId="3350954519" sldId="272"/>
            <ac:spMk id="16" creationId="{6C4028FD-8BAA-4A19-BFDE-594D991B7552}"/>
          </ac:spMkLst>
        </pc:spChg>
        <pc:graphicFrameChg chg="mod modGraphic">
          <ac:chgData name="Anchal  Bhamore" userId="S::2790260@vikes.csuohio.edu::3c0ae9e2-a394-4d39-948f-41c65fba8a73" providerId="AD" clId="Web-{8D39CC4C-7613-5AB4-6B69-68D6BD138F4D}" dt="2020-11-30T23:24:38.774" v="1149"/>
          <ac:graphicFrameMkLst>
            <pc:docMk/>
            <pc:sldMk cId="3350954519" sldId="272"/>
            <ac:graphicFrameMk id="5" creationId="{1554FFEC-BC60-4304-BDBE-6B10771DC420}"/>
          </ac:graphicFrameMkLst>
        </pc:graphicFrameChg>
        <pc:cxnChg chg="add del">
          <ac:chgData name="Anchal  Bhamore" userId="S::2790260@vikes.csuohio.edu::3c0ae9e2-a394-4d39-948f-41c65fba8a73" providerId="AD" clId="Web-{8D39CC4C-7613-5AB4-6B69-68D6BD138F4D}" dt="2020-11-30T23:24:38.774" v="1149"/>
          <ac:cxnSpMkLst>
            <pc:docMk/>
            <pc:sldMk cId="3350954519" sldId="272"/>
            <ac:cxnSpMk id="11" creationId="{74E776C9-ED67-41B7-B3A3-4DF76EF3ACEE}"/>
          </ac:cxnSpMkLst>
        </pc:cxnChg>
      </pc:sldChg>
      <pc:sldChg chg="addSp delSp modSp">
        <pc:chgData name="Anchal  Bhamore" userId="S::2790260@vikes.csuohio.edu::3c0ae9e2-a394-4d39-948f-41c65fba8a73" providerId="AD" clId="Web-{8D39CC4C-7613-5AB4-6B69-68D6BD138F4D}" dt="2020-11-30T23:02:49.709" v="882" actId="14100"/>
        <pc:sldMkLst>
          <pc:docMk/>
          <pc:sldMk cId="3417158616" sldId="273"/>
        </pc:sldMkLst>
        <pc:spChg chg="mod">
          <ac:chgData name="Anchal  Bhamore" userId="S::2790260@vikes.csuohio.edu::3c0ae9e2-a394-4d39-948f-41c65fba8a73" providerId="AD" clId="Web-{8D39CC4C-7613-5AB4-6B69-68D6BD138F4D}" dt="2020-11-30T23:02:38.021" v="880"/>
          <ac:spMkLst>
            <pc:docMk/>
            <pc:sldMk cId="3417158616" sldId="273"/>
            <ac:spMk id="2" creationId="{AA309B92-0EB2-48E4-BE38-3C26772FCFC2}"/>
          </ac:spMkLst>
        </pc:spChg>
        <pc:spChg chg="mod">
          <ac:chgData name="Anchal  Bhamore" userId="S::2790260@vikes.csuohio.edu::3c0ae9e2-a394-4d39-948f-41c65fba8a73" providerId="AD" clId="Web-{8D39CC4C-7613-5AB4-6B69-68D6BD138F4D}" dt="2020-11-30T23:02:49.709" v="882" actId="14100"/>
          <ac:spMkLst>
            <pc:docMk/>
            <pc:sldMk cId="3417158616" sldId="273"/>
            <ac:spMk id="20" creationId="{C2BE5BF0-8DED-4ACC-B337-8A27C0661055}"/>
          </ac:spMkLst>
        </pc:spChg>
        <pc:spChg chg="add">
          <ac:chgData name="Anchal  Bhamore" userId="S::2790260@vikes.csuohio.edu::3c0ae9e2-a394-4d39-948f-41c65fba8a73" providerId="AD" clId="Web-{8D39CC4C-7613-5AB4-6B69-68D6BD138F4D}" dt="2020-11-30T23:02:38.021" v="880"/>
          <ac:spMkLst>
            <pc:docMk/>
            <pc:sldMk cId="3417158616" sldId="273"/>
            <ac:spMk id="31" creationId="{201CC55D-ED54-4C5C-95E6-10947BD1103B}"/>
          </ac:spMkLst>
        </pc:spChg>
        <pc:spChg chg="add">
          <ac:chgData name="Anchal  Bhamore" userId="S::2790260@vikes.csuohio.edu::3c0ae9e2-a394-4d39-948f-41c65fba8a73" providerId="AD" clId="Web-{8D39CC4C-7613-5AB4-6B69-68D6BD138F4D}" dt="2020-11-30T23:02:38.021" v="880"/>
          <ac:spMkLst>
            <pc:docMk/>
            <pc:sldMk cId="3417158616" sldId="273"/>
            <ac:spMk id="37" creationId="{3873B707-463F-40B0-8227-E8CC6C67EB25}"/>
          </ac:spMkLst>
        </pc:spChg>
        <pc:spChg chg="add">
          <ac:chgData name="Anchal  Bhamore" userId="S::2790260@vikes.csuohio.edu::3c0ae9e2-a394-4d39-948f-41c65fba8a73" providerId="AD" clId="Web-{8D39CC4C-7613-5AB4-6B69-68D6BD138F4D}" dt="2020-11-30T23:02:38.021" v="880"/>
          <ac:spMkLst>
            <pc:docMk/>
            <pc:sldMk cId="3417158616" sldId="273"/>
            <ac:spMk id="39" creationId="{C13237C8-E62C-4F0D-A318-BD6FB6C2D138}"/>
          </ac:spMkLst>
        </pc:spChg>
        <pc:spChg chg="add">
          <ac:chgData name="Anchal  Bhamore" userId="S::2790260@vikes.csuohio.edu::3c0ae9e2-a394-4d39-948f-41c65fba8a73" providerId="AD" clId="Web-{8D39CC4C-7613-5AB4-6B69-68D6BD138F4D}" dt="2020-11-30T23:02:38.021" v="880"/>
          <ac:spMkLst>
            <pc:docMk/>
            <pc:sldMk cId="3417158616" sldId="273"/>
            <ac:spMk id="41" creationId="{19C9EAEA-39D0-4B0E-A0EB-51E7B26740B1}"/>
          </ac:spMkLst>
        </pc:spChg>
        <pc:grpChg chg="add">
          <ac:chgData name="Anchal  Bhamore" userId="S::2790260@vikes.csuohio.edu::3c0ae9e2-a394-4d39-948f-41c65fba8a73" providerId="AD" clId="Web-{8D39CC4C-7613-5AB4-6B69-68D6BD138F4D}" dt="2020-11-30T23:02:38.021" v="880"/>
          <ac:grpSpMkLst>
            <pc:docMk/>
            <pc:sldMk cId="3417158616" sldId="273"/>
            <ac:grpSpMk id="33" creationId="{1DE889C7-FAD6-4397-98E2-05D503484459}"/>
          </ac:grpSpMkLst>
        </pc:grpChg>
        <pc:picChg chg="mod">
          <ac:chgData name="Anchal  Bhamore" userId="S::2790260@vikes.csuohio.edu::3c0ae9e2-a394-4d39-948f-41c65fba8a73" providerId="AD" clId="Web-{8D39CC4C-7613-5AB4-6B69-68D6BD138F4D}" dt="2020-11-30T23:02:38.021" v="880"/>
          <ac:picMkLst>
            <pc:docMk/>
            <pc:sldMk cId="3417158616" sldId="273"/>
            <ac:picMk id="19" creationId="{5D828D9E-53DD-4E4B-86CF-8342CB41AE1A}"/>
          </ac:picMkLst>
        </pc:picChg>
        <pc:cxnChg chg="del">
          <ac:chgData name="Anchal  Bhamore" userId="S::2790260@vikes.csuohio.edu::3c0ae9e2-a394-4d39-948f-41c65fba8a73" providerId="AD" clId="Web-{8D39CC4C-7613-5AB4-6B69-68D6BD138F4D}" dt="2020-11-30T23:02:38.021" v="880"/>
          <ac:cxnSpMkLst>
            <pc:docMk/>
            <pc:sldMk cId="3417158616" sldId="273"/>
            <ac:cxnSpMk id="26" creationId="{A7F400EE-A8A5-48AF-B4D6-291B52C6F0B0}"/>
          </ac:cxnSpMkLst>
        </pc:cxnChg>
      </pc:sldChg>
      <pc:sldChg chg="addSp delSp del delAnim">
        <pc:chgData name="Anchal  Bhamore" userId="S::2790260@vikes.csuohio.edu::3c0ae9e2-a394-4d39-948f-41c65fba8a73" providerId="AD" clId="Web-{8D39CC4C-7613-5AB4-6B69-68D6BD138F4D}" dt="2020-11-30T23:21:27.278" v="1144"/>
        <pc:sldMkLst>
          <pc:docMk/>
          <pc:sldMk cId="1933942813" sldId="274"/>
        </pc:sldMkLst>
        <pc:spChg chg="add">
          <ac:chgData name="Anchal  Bhamore" userId="S::2790260@vikes.csuohio.edu::3c0ae9e2-a394-4d39-948f-41c65fba8a73" providerId="AD" clId="Web-{8D39CC4C-7613-5AB4-6B69-68D6BD138F4D}" dt="2020-11-30T23:11:14.959" v="980"/>
          <ac:spMkLst>
            <pc:docMk/>
            <pc:sldMk cId="1933942813" sldId="274"/>
            <ac:spMk id="36" creationId="{CC2D1906-5A64-48C4-9BDD-B80A91949DFD}"/>
          </ac:spMkLst>
        </pc:spChg>
        <pc:spChg chg="add">
          <ac:chgData name="Anchal  Bhamore" userId="S::2790260@vikes.csuohio.edu::3c0ae9e2-a394-4d39-948f-41c65fba8a73" providerId="AD" clId="Web-{8D39CC4C-7613-5AB4-6B69-68D6BD138F4D}" dt="2020-11-30T23:11:14.959" v="980"/>
          <ac:spMkLst>
            <pc:docMk/>
            <pc:sldMk cId="1933942813" sldId="274"/>
            <ac:spMk id="37" creationId="{3CB9497E-E8F1-44C4-A9E8-68F3F46B3575}"/>
          </ac:spMkLst>
        </pc:spChg>
        <pc:spChg chg="add">
          <ac:chgData name="Anchal  Bhamore" userId="S::2790260@vikes.csuohio.edu::3c0ae9e2-a394-4d39-948f-41c65fba8a73" providerId="AD" clId="Web-{8D39CC4C-7613-5AB4-6B69-68D6BD138F4D}" dt="2020-11-30T23:11:14.959" v="980"/>
          <ac:spMkLst>
            <pc:docMk/>
            <pc:sldMk cId="1933942813" sldId="274"/>
            <ac:spMk id="38" creationId="{94A31BC4-1073-4290-BFA0-F5FC6E2CDFF4}"/>
          </ac:spMkLst>
        </pc:spChg>
        <pc:spChg chg="add">
          <ac:chgData name="Anchal  Bhamore" userId="S::2790260@vikes.csuohio.edu::3c0ae9e2-a394-4d39-948f-41c65fba8a73" providerId="AD" clId="Web-{8D39CC4C-7613-5AB4-6B69-68D6BD138F4D}" dt="2020-11-30T23:11:14.959" v="980"/>
          <ac:spMkLst>
            <pc:docMk/>
            <pc:sldMk cId="1933942813" sldId="274"/>
            <ac:spMk id="39" creationId="{5E4955A8-3185-4132-A79B-FDB988BB886B}"/>
          </ac:spMkLst>
        </pc:spChg>
        <pc:spChg chg="add">
          <ac:chgData name="Anchal  Bhamore" userId="S::2790260@vikes.csuohio.edu::3c0ae9e2-a394-4d39-948f-41c65fba8a73" providerId="AD" clId="Web-{8D39CC4C-7613-5AB4-6B69-68D6BD138F4D}" dt="2020-11-30T23:11:14.959" v="980"/>
          <ac:spMkLst>
            <pc:docMk/>
            <pc:sldMk cId="1933942813" sldId="274"/>
            <ac:spMk id="43" creationId="{65E1C4D9-0A93-402D-8D1D-00D628C0683C}"/>
          </ac:spMkLst>
        </pc:spChg>
        <pc:spChg chg="add">
          <ac:chgData name="Anchal  Bhamore" userId="S::2790260@vikes.csuohio.edu::3c0ae9e2-a394-4d39-948f-41c65fba8a73" providerId="AD" clId="Web-{8D39CC4C-7613-5AB4-6B69-68D6BD138F4D}" dt="2020-11-30T23:11:14.959" v="980"/>
          <ac:spMkLst>
            <pc:docMk/>
            <pc:sldMk cId="1933942813" sldId="274"/>
            <ac:spMk id="44" creationId="{DEF4D013-8ADE-4B8B-806C-CDDA5093A734}"/>
          </ac:spMkLst>
        </pc:spChg>
        <pc:spChg chg="add">
          <ac:chgData name="Anchal  Bhamore" userId="S::2790260@vikes.csuohio.edu::3c0ae9e2-a394-4d39-948f-41c65fba8a73" providerId="AD" clId="Web-{8D39CC4C-7613-5AB4-6B69-68D6BD138F4D}" dt="2020-11-30T23:11:14.959" v="980"/>
          <ac:spMkLst>
            <pc:docMk/>
            <pc:sldMk cId="1933942813" sldId="274"/>
            <ac:spMk id="45" creationId="{22BE7D1F-7E84-415E-8B07-4D4A663CB64F}"/>
          </ac:spMkLst>
        </pc:spChg>
        <pc:spChg chg="add">
          <ac:chgData name="Anchal  Bhamore" userId="S::2790260@vikes.csuohio.edu::3c0ae9e2-a394-4d39-948f-41c65fba8a73" providerId="AD" clId="Web-{8D39CC4C-7613-5AB4-6B69-68D6BD138F4D}" dt="2020-11-30T23:11:14.959" v="980"/>
          <ac:spMkLst>
            <pc:docMk/>
            <pc:sldMk cId="1933942813" sldId="274"/>
            <ac:spMk id="46" creationId="{B075C0F3-D82B-4D02-845C-D2FA267681AD}"/>
          </ac:spMkLst>
        </pc:spChg>
        <pc:spChg chg="add">
          <ac:chgData name="Anchal  Bhamore" userId="S::2790260@vikes.csuohio.edu::3c0ae9e2-a394-4d39-948f-41c65fba8a73" providerId="AD" clId="Web-{8D39CC4C-7613-5AB4-6B69-68D6BD138F4D}" dt="2020-11-30T23:11:14.959" v="980"/>
          <ac:spMkLst>
            <pc:docMk/>
            <pc:sldMk cId="1933942813" sldId="274"/>
            <ac:spMk id="47" creationId="{657BF9DE-9C24-45AA-843E-AE5C760ACE82}"/>
          </ac:spMkLst>
        </pc:spChg>
        <pc:spChg chg="add">
          <ac:chgData name="Anchal  Bhamore" userId="S::2790260@vikes.csuohio.edu::3c0ae9e2-a394-4d39-948f-41c65fba8a73" providerId="AD" clId="Web-{8D39CC4C-7613-5AB4-6B69-68D6BD138F4D}" dt="2020-11-30T23:11:14.959" v="980"/>
          <ac:spMkLst>
            <pc:docMk/>
            <pc:sldMk cId="1933942813" sldId="274"/>
            <ac:spMk id="48" creationId="{0D97D494-0210-4344-8E09-D2F6212D81E3}"/>
          </ac:spMkLst>
        </pc:spChg>
        <pc:spChg chg="add">
          <ac:chgData name="Anchal  Bhamore" userId="S::2790260@vikes.csuohio.edu::3c0ae9e2-a394-4d39-948f-41c65fba8a73" providerId="AD" clId="Web-{8D39CC4C-7613-5AB4-6B69-68D6BD138F4D}" dt="2020-11-30T23:11:14.959" v="980"/>
          <ac:spMkLst>
            <pc:docMk/>
            <pc:sldMk cId="1933942813" sldId="274"/>
            <ac:spMk id="49" creationId="{56288353-FD49-47BD-970C-CFB6CB055E6C}"/>
          </ac:spMkLst>
        </pc:spChg>
        <pc:spChg chg="add">
          <ac:chgData name="Anchal  Bhamore" userId="S::2790260@vikes.csuohio.edu::3c0ae9e2-a394-4d39-948f-41c65fba8a73" providerId="AD" clId="Web-{8D39CC4C-7613-5AB4-6B69-68D6BD138F4D}" dt="2020-11-30T23:11:14.959" v="980"/>
          <ac:spMkLst>
            <pc:docMk/>
            <pc:sldMk cId="1933942813" sldId="274"/>
            <ac:spMk id="50" creationId="{FFE5C4AE-47B5-4D8A-87BB-1CCD78AE99F2}"/>
          </ac:spMkLst>
        </pc:spChg>
        <pc:spChg chg="add">
          <ac:chgData name="Anchal  Bhamore" userId="S::2790260@vikes.csuohio.edu::3c0ae9e2-a394-4d39-948f-41c65fba8a73" providerId="AD" clId="Web-{8D39CC4C-7613-5AB4-6B69-68D6BD138F4D}" dt="2020-11-30T23:11:14.959" v="980"/>
          <ac:spMkLst>
            <pc:docMk/>
            <pc:sldMk cId="1933942813" sldId="274"/>
            <ac:spMk id="51" creationId="{9397E90B-94D8-4C96-AB31-66D8DD23558E}"/>
          </ac:spMkLst>
        </pc:spChg>
        <pc:spChg chg="add">
          <ac:chgData name="Anchal  Bhamore" userId="S::2790260@vikes.csuohio.edu::3c0ae9e2-a394-4d39-948f-41c65fba8a73" providerId="AD" clId="Web-{8D39CC4C-7613-5AB4-6B69-68D6BD138F4D}" dt="2020-11-30T23:11:14.959" v="980"/>
          <ac:spMkLst>
            <pc:docMk/>
            <pc:sldMk cId="1933942813" sldId="274"/>
            <ac:spMk id="52" creationId="{5A6C1364-946B-4EF8-B068-0E5F17E016BC}"/>
          </ac:spMkLst>
        </pc:spChg>
        <pc:spChg chg="add">
          <ac:chgData name="Anchal  Bhamore" userId="S::2790260@vikes.csuohio.edu::3c0ae9e2-a394-4d39-948f-41c65fba8a73" providerId="AD" clId="Web-{8D39CC4C-7613-5AB4-6B69-68D6BD138F4D}" dt="2020-11-30T23:11:14.959" v="980"/>
          <ac:spMkLst>
            <pc:docMk/>
            <pc:sldMk cId="1933942813" sldId="274"/>
            <ac:spMk id="53" creationId="{65FBC0EE-1770-436D-B1D4-670E22A20DA2}"/>
          </ac:spMkLst>
        </pc:spChg>
        <pc:spChg chg="add">
          <ac:chgData name="Anchal  Bhamore" userId="S::2790260@vikes.csuohio.edu::3c0ae9e2-a394-4d39-948f-41c65fba8a73" providerId="AD" clId="Web-{8D39CC4C-7613-5AB4-6B69-68D6BD138F4D}" dt="2020-11-30T23:11:14.959" v="980"/>
          <ac:spMkLst>
            <pc:docMk/>
            <pc:sldMk cId="1933942813" sldId="274"/>
            <ac:spMk id="54" creationId="{07E5B25D-07A0-488F-8B4A-E65FA92ED634}"/>
          </ac:spMkLst>
        </pc:spChg>
        <pc:spChg chg="add">
          <ac:chgData name="Anchal  Bhamore" userId="S::2790260@vikes.csuohio.edu::3c0ae9e2-a394-4d39-948f-41c65fba8a73" providerId="AD" clId="Web-{8D39CC4C-7613-5AB4-6B69-68D6BD138F4D}" dt="2020-11-30T23:11:14.959" v="980"/>
          <ac:spMkLst>
            <pc:docMk/>
            <pc:sldMk cId="1933942813" sldId="274"/>
            <ac:spMk id="55" creationId="{BF32C5C4-E904-419B-8AF3-932A38273475}"/>
          </ac:spMkLst>
        </pc:spChg>
        <pc:spChg chg="add">
          <ac:chgData name="Anchal  Bhamore" userId="S::2790260@vikes.csuohio.edu::3c0ae9e2-a394-4d39-948f-41c65fba8a73" providerId="AD" clId="Web-{8D39CC4C-7613-5AB4-6B69-68D6BD138F4D}" dt="2020-11-30T23:11:14.959" v="980"/>
          <ac:spMkLst>
            <pc:docMk/>
            <pc:sldMk cId="1933942813" sldId="274"/>
            <ac:spMk id="56" creationId="{DF29AC9B-278A-4CAC-81B3-7A06046425A9}"/>
          </ac:spMkLst>
        </pc:spChg>
        <pc:spChg chg="add">
          <ac:chgData name="Anchal  Bhamore" userId="S::2790260@vikes.csuohio.edu::3c0ae9e2-a394-4d39-948f-41c65fba8a73" providerId="AD" clId="Web-{8D39CC4C-7613-5AB4-6B69-68D6BD138F4D}" dt="2020-11-30T23:11:14.959" v="980"/>
          <ac:spMkLst>
            <pc:docMk/>
            <pc:sldMk cId="1933942813" sldId="274"/>
            <ac:spMk id="57" creationId="{CED7B0AD-8A86-40F1-8D49-4AF5C931E768}"/>
          </ac:spMkLst>
        </pc:spChg>
        <pc:spChg chg="add">
          <ac:chgData name="Anchal  Bhamore" userId="S::2790260@vikes.csuohio.edu::3c0ae9e2-a394-4d39-948f-41c65fba8a73" providerId="AD" clId="Web-{8D39CC4C-7613-5AB4-6B69-68D6BD138F4D}" dt="2020-11-30T23:11:14.959" v="980"/>
          <ac:spMkLst>
            <pc:docMk/>
            <pc:sldMk cId="1933942813" sldId="274"/>
            <ac:spMk id="58" creationId="{90108852-2780-44A6-B053-0E37DD95CF9A}"/>
          </ac:spMkLst>
        </pc:spChg>
        <pc:spChg chg="add">
          <ac:chgData name="Anchal  Bhamore" userId="S::2790260@vikes.csuohio.edu::3c0ae9e2-a394-4d39-948f-41c65fba8a73" providerId="AD" clId="Web-{8D39CC4C-7613-5AB4-6B69-68D6BD138F4D}" dt="2020-11-30T23:11:14.959" v="980"/>
          <ac:spMkLst>
            <pc:docMk/>
            <pc:sldMk cId="1933942813" sldId="274"/>
            <ac:spMk id="59" creationId="{1DFCC856-2BFD-4B7B-9A0E-EDC92B05137B}"/>
          </ac:spMkLst>
        </pc:spChg>
        <pc:spChg chg="add">
          <ac:chgData name="Anchal  Bhamore" userId="S::2790260@vikes.csuohio.edu::3c0ae9e2-a394-4d39-948f-41c65fba8a73" providerId="AD" clId="Web-{8D39CC4C-7613-5AB4-6B69-68D6BD138F4D}" dt="2020-11-30T23:11:14.959" v="980"/>
          <ac:spMkLst>
            <pc:docMk/>
            <pc:sldMk cId="1933942813" sldId="274"/>
            <ac:spMk id="60" creationId="{083BA504-474D-4EAB-8414-93009513965C}"/>
          </ac:spMkLst>
        </pc:spChg>
        <pc:spChg chg="add">
          <ac:chgData name="Anchal  Bhamore" userId="S::2790260@vikes.csuohio.edu::3c0ae9e2-a394-4d39-948f-41c65fba8a73" providerId="AD" clId="Web-{8D39CC4C-7613-5AB4-6B69-68D6BD138F4D}" dt="2020-11-30T23:11:14.959" v="980"/>
          <ac:spMkLst>
            <pc:docMk/>
            <pc:sldMk cId="1933942813" sldId="274"/>
            <ac:spMk id="61" creationId="{7462D04F-3FF7-457E-B47D-B1C89A13542C}"/>
          </ac:spMkLst>
        </pc:spChg>
        <pc:spChg chg="add">
          <ac:chgData name="Anchal  Bhamore" userId="S::2790260@vikes.csuohio.edu::3c0ae9e2-a394-4d39-948f-41c65fba8a73" providerId="AD" clId="Web-{8D39CC4C-7613-5AB4-6B69-68D6BD138F4D}" dt="2020-11-30T23:11:14.959" v="980"/>
          <ac:spMkLst>
            <pc:docMk/>
            <pc:sldMk cId="1933942813" sldId="274"/>
            <ac:spMk id="62" creationId="{60898EDD-4CD7-4F8F-82FC-F38AA4131ED1}"/>
          </ac:spMkLst>
        </pc:spChg>
        <pc:spChg chg="add">
          <ac:chgData name="Anchal  Bhamore" userId="S::2790260@vikes.csuohio.edu::3c0ae9e2-a394-4d39-948f-41c65fba8a73" providerId="AD" clId="Web-{8D39CC4C-7613-5AB4-6B69-68D6BD138F4D}" dt="2020-11-30T23:17:43.264" v="1031"/>
          <ac:spMkLst>
            <pc:docMk/>
            <pc:sldMk cId="1933942813" sldId="274"/>
            <ac:spMk id="65" creationId="{F768D4EE-6859-473E-9A2E-4801ECAAE6F6}"/>
          </ac:spMkLst>
        </pc:spChg>
        <pc:spChg chg="add">
          <ac:chgData name="Anchal  Bhamore" userId="S::2790260@vikes.csuohio.edu::3c0ae9e2-a394-4d39-948f-41c65fba8a73" providerId="AD" clId="Web-{8D39CC4C-7613-5AB4-6B69-68D6BD138F4D}" dt="2020-11-30T23:17:43.264" v="1031"/>
          <ac:spMkLst>
            <pc:docMk/>
            <pc:sldMk cId="1933942813" sldId="274"/>
            <ac:spMk id="66" creationId="{2B99ECC4-BBD8-403F-B2DF-95E4C36332A5}"/>
          </ac:spMkLst>
        </pc:spChg>
        <pc:spChg chg="add">
          <ac:chgData name="Anchal  Bhamore" userId="S::2790260@vikes.csuohio.edu::3c0ae9e2-a394-4d39-948f-41c65fba8a73" providerId="AD" clId="Web-{8D39CC4C-7613-5AB4-6B69-68D6BD138F4D}" dt="2020-11-30T23:17:43.264" v="1031"/>
          <ac:spMkLst>
            <pc:docMk/>
            <pc:sldMk cId="1933942813" sldId="274"/>
            <ac:spMk id="67" creationId="{AEE5A155-942D-447B-8959-C89054653827}"/>
          </ac:spMkLst>
        </pc:spChg>
        <pc:spChg chg="add">
          <ac:chgData name="Anchal  Bhamore" userId="S::2790260@vikes.csuohio.edu::3c0ae9e2-a394-4d39-948f-41c65fba8a73" providerId="AD" clId="Web-{8D39CC4C-7613-5AB4-6B69-68D6BD138F4D}" dt="2020-11-30T23:17:43.264" v="1031"/>
          <ac:spMkLst>
            <pc:docMk/>
            <pc:sldMk cId="1933942813" sldId="274"/>
            <ac:spMk id="68" creationId="{53656BA9-C099-4DBD-B376-8A9388436F7B}"/>
          </ac:spMkLst>
        </pc:spChg>
        <pc:spChg chg="add">
          <ac:chgData name="Anchal  Bhamore" userId="S::2790260@vikes.csuohio.edu::3c0ae9e2-a394-4d39-948f-41c65fba8a73" providerId="AD" clId="Web-{8D39CC4C-7613-5AB4-6B69-68D6BD138F4D}" dt="2020-11-30T23:17:43.264" v="1031"/>
          <ac:spMkLst>
            <pc:docMk/>
            <pc:sldMk cId="1933942813" sldId="274"/>
            <ac:spMk id="72" creationId="{FBE5F202-98B3-42BF-9AE6-7AE596DDED5B}"/>
          </ac:spMkLst>
        </pc:spChg>
        <pc:spChg chg="add">
          <ac:chgData name="Anchal  Bhamore" userId="S::2790260@vikes.csuohio.edu::3c0ae9e2-a394-4d39-948f-41c65fba8a73" providerId="AD" clId="Web-{8D39CC4C-7613-5AB4-6B69-68D6BD138F4D}" dt="2020-11-30T23:17:43.264" v="1031"/>
          <ac:spMkLst>
            <pc:docMk/>
            <pc:sldMk cId="1933942813" sldId="274"/>
            <ac:spMk id="73" creationId="{8D17A431-982A-490B-A63D-FA4CCC2D17CD}"/>
          </ac:spMkLst>
        </pc:spChg>
        <pc:spChg chg="add">
          <ac:chgData name="Anchal  Bhamore" userId="S::2790260@vikes.csuohio.edu::3c0ae9e2-a394-4d39-948f-41c65fba8a73" providerId="AD" clId="Web-{8D39CC4C-7613-5AB4-6B69-68D6BD138F4D}" dt="2020-11-30T23:17:43.264" v="1031"/>
          <ac:spMkLst>
            <pc:docMk/>
            <pc:sldMk cId="1933942813" sldId="274"/>
            <ac:spMk id="74" creationId="{656973A2-EEA3-44F8-B299-0BCAEA6D4F58}"/>
          </ac:spMkLst>
        </pc:spChg>
        <pc:spChg chg="add">
          <ac:chgData name="Anchal  Bhamore" userId="S::2790260@vikes.csuohio.edu::3c0ae9e2-a394-4d39-948f-41c65fba8a73" providerId="AD" clId="Web-{8D39CC4C-7613-5AB4-6B69-68D6BD138F4D}" dt="2020-11-30T23:17:43.264" v="1031"/>
          <ac:spMkLst>
            <pc:docMk/>
            <pc:sldMk cId="1933942813" sldId="274"/>
            <ac:spMk id="75" creationId="{5EAFB1D3-C502-44E4-A415-6D73CFEAB4D6}"/>
          </ac:spMkLst>
        </pc:spChg>
        <pc:spChg chg="add">
          <ac:chgData name="Anchal  Bhamore" userId="S::2790260@vikes.csuohio.edu::3c0ae9e2-a394-4d39-948f-41c65fba8a73" providerId="AD" clId="Web-{8D39CC4C-7613-5AB4-6B69-68D6BD138F4D}" dt="2020-11-30T23:17:43.264" v="1031"/>
          <ac:spMkLst>
            <pc:docMk/>
            <pc:sldMk cId="1933942813" sldId="274"/>
            <ac:spMk id="76" creationId="{2D59025E-726D-462A-9073-993F761063A2}"/>
          </ac:spMkLst>
        </pc:spChg>
        <pc:spChg chg="add">
          <ac:chgData name="Anchal  Bhamore" userId="S::2790260@vikes.csuohio.edu::3c0ae9e2-a394-4d39-948f-41c65fba8a73" providerId="AD" clId="Web-{8D39CC4C-7613-5AB4-6B69-68D6BD138F4D}" dt="2020-11-30T23:17:43.264" v="1031"/>
          <ac:spMkLst>
            <pc:docMk/>
            <pc:sldMk cId="1933942813" sldId="274"/>
            <ac:spMk id="77" creationId="{6EBC289F-7D67-473E-BB9B-CA0529D677B7}"/>
          </ac:spMkLst>
        </pc:spChg>
        <pc:spChg chg="add">
          <ac:chgData name="Anchal  Bhamore" userId="S::2790260@vikes.csuohio.edu::3c0ae9e2-a394-4d39-948f-41c65fba8a73" providerId="AD" clId="Web-{8D39CC4C-7613-5AB4-6B69-68D6BD138F4D}" dt="2020-11-30T23:17:43.264" v="1031"/>
          <ac:spMkLst>
            <pc:docMk/>
            <pc:sldMk cId="1933942813" sldId="274"/>
            <ac:spMk id="78" creationId="{84ABB73B-A288-49F7-A5F1-6E320C528AA9}"/>
          </ac:spMkLst>
        </pc:spChg>
        <pc:spChg chg="add">
          <ac:chgData name="Anchal  Bhamore" userId="S::2790260@vikes.csuohio.edu::3c0ae9e2-a394-4d39-948f-41c65fba8a73" providerId="AD" clId="Web-{8D39CC4C-7613-5AB4-6B69-68D6BD138F4D}" dt="2020-11-30T23:17:43.264" v="1031"/>
          <ac:spMkLst>
            <pc:docMk/>
            <pc:sldMk cId="1933942813" sldId="274"/>
            <ac:spMk id="79" creationId="{D4D9162D-C84C-41F9-807A-132EF1AA0469}"/>
          </ac:spMkLst>
        </pc:spChg>
        <pc:spChg chg="add">
          <ac:chgData name="Anchal  Bhamore" userId="S::2790260@vikes.csuohio.edu::3c0ae9e2-a394-4d39-948f-41c65fba8a73" providerId="AD" clId="Web-{8D39CC4C-7613-5AB4-6B69-68D6BD138F4D}" dt="2020-11-30T23:17:43.264" v="1031"/>
          <ac:spMkLst>
            <pc:docMk/>
            <pc:sldMk cId="1933942813" sldId="274"/>
            <ac:spMk id="80" creationId="{F6A1967A-321B-49FC-8D3F-434CE5C2C084}"/>
          </ac:spMkLst>
        </pc:spChg>
        <pc:spChg chg="add">
          <ac:chgData name="Anchal  Bhamore" userId="S::2790260@vikes.csuohio.edu::3c0ae9e2-a394-4d39-948f-41c65fba8a73" providerId="AD" clId="Web-{8D39CC4C-7613-5AB4-6B69-68D6BD138F4D}" dt="2020-11-30T23:17:43.264" v="1031"/>
          <ac:spMkLst>
            <pc:docMk/>
            <pc:sldMk cId="1933942813" sldId="274"/>
            <ac:spMk id="81" creationId="{26496FBE-51B1-47B3-A610-6F8CD4770D09}"/>
          </ac:spMkLst>
        </pc:spChg>
        <pc:spChg chg="add">
          <ac:chgData name="Anchal  Bhamore" userId="S::2790260@vikes.csuohio.edu::3c0ae9e2-a394-4d39-948f-41c65fba8a73" providerId="AD" clId="Web-{8D39CC4C-7613-5AB4-6B69-68D6BD138F4D}" dt="2020-11-30T23:17:43.264" v="1031"/>
          <ac:spMkLst>
            <pc:docMk/>
            <pc:sldMk cId="1933942813" sldId="274"/>
            <ac:spMk id="82" creationId="{A2279784-F206-458D-9CC8-B35BBBA000E6}"/>
          </ac:spMkLst>
        </pc:spChg>
        <pc:spChg chg="add">
          <ac:chgData name="Anchal  Bhamore" userId="S::2790260@vikes.csuohio.edu::3c0ae9e2-a394-4d39-948f-41c65fba8a73" providerId="AD" clId="Web-{8D39CC4C-7613-5AB4-6B69-68D6BD138F4D}" dt="2020-11-30T23:17:43.264" v="1031"/>
          <ac:spMkLst>
            <pc:docMk/>
            <pc:sldMk cId="1933942813" sldId="274"/>
            <ac:spMk id="83" creationId="{8ACD7B83-3267-45C0-820B-FB42CD7F517A}"/>
          </ac:spMkLst>
        </pc:spChg>
        <pc:spChg chg="add">
          <ac:chgData name="Anchal  Bhamore" userId="S::2790260@vikes.csuohio.edu::3c0ae9e2-a394-4d39-948f-41c65fba8a73" providerId="AD" clId="Web-{8D39CC4C-7613-5AB4-6B69-68D6BD138F4D}" dt="2020-11-30T23:17:43.264" v="1031"/>
          <ac:spMkLst>
            <pc:docMk/>
            <pc:sldMk cId="1933942813" sldId="274"/>
            <ac:spMk id="84" creationId="{17229C0C-231F-4BF5-9347-5013ED98F836}"/>
          </ac:spMkLst>
        </pc:spChg>
        <pc:spChg chg="add">
          <ac:chgData name="Anchal  Bhamore" userId="S::2790260@vikes.csuohio.edu::3c0ae9e2-a394-4d39-948f-41c65fba8a73" providerId="AD" clId="Web-{8D39CC4C-7613-5AB4-6B69-68D6BD138F4D}" dt="2020-11-30T23:17:43.264" v="1031"/>
          <ac:spMkLst>
            <pc:docMk/>
            <pc:sldMk cId="1933942813" sldId="274"/>
            <ac:spMk id="85" creationId="{D20CC307-0BBB-4881-923F-074420BAF5E2}"/>
          </ac:spMkLst>
        </pc:spChg>
        <pc:spChg chg="add">
          <ac:chgData name="Anchal  Bhamore" userId="S::2790260@vikes.csuohio.edu::3c0ae9e2-a394-4d39-948f-41c65fba8a73" providerId="AD" clId="Web-{8D39CC4C-7613-5AB4-6B69-68D6BD138F4D}" dt="2020-11-30T23:17:43.264" v="1031"/>
          <ac:spMkLst>
            <pc:docMk/>
            <pc:sldMk cId="1933942813" sldId="274"/>
            <ac:spMk id="86" creationId="{0FE4E702-E19A-4B76-9DDC-E2B8EE245C15}"/>
          </ac:spMkLst>
        </pc:spChg>
        <pc:spChg chg="add">
          <ac:chgData name="Anchal  Bhamore" userId="S::2790260@vikes.csuohio.edu::3c0ae9e2-a394-4d39-948f-41c65fba8a73" providerId="AD" clId="Web-{8D39CC4C-7613-5AB4-6B69-68D6BD138F4D}" dt="2020-11-30T23:17:43.264" v="1031"/>
          <ac:spMkLst>
            <pc:docMk/>
            <pc:sldMk cId="1933942813" sldId="274"/>
            <ac:spMk id="87" creationId="{5DD07601-5590-4845-9A06-CC28918DDB6F}"/>
          </ac:spMkLst>
        </pc:spChg>
        <pc:spChg chg="add">
          <ac:chgData name="Anchal  Bhamore" userId="S::2790260@vikes.csuohio.edu::3c0ae9e2-a394-4d39-948f-41c65fba8a73" providerId="AD" clId="Web-{8D39CC4C-7613-5AB4-6B69-68D6BD138F4D}" dt="2020-11-30T23:17:43.264" v="1031"/>
          <ac:spMkLst>
            <pc:docMk/>
            <pc:sldMk cId="1933942813" sldId="274"/>
            <ac:spMk id="88" creationId="{76E3424D-2C38-4A21-B0FC-E8EE954CDF1C}"/>
          </ac:spMkLst>
        </pc:spChg>
        <pc:spChg chg="add">
          <ac:chgData name="Anchal  Bhamore" userId="S::2790260@vikes.csuohio.edu::3c0ae9e2-a394-4d39-948f-41c65fba8a73" providerId="AD" clId="Web-{8D39CC4C-7613-5AB4-6B69-68D6BD138F4D}" dt="2020-11-30T23:17:43.264" v="1031"/>
          <ac:spMkLst>
            <pc:docMk/>
            <pc:sldMk cId="1933942813" sldId="274"/>
            <ac:spMk id="89" creationId="{A6D76CB7-E1AB-4679-96ED-8256494F6D85}"/>
          </ac:spMkLst>
        </pc:spChg>
        <pc:spChg chg="add">
          <ac:chgData name="Anchal  Bhamore" userId="S::2790260@vikes.csuohio.edu::3c0ae9e2-a394-4d39-948f-41c65fba8a73" providerId="AD" clId="Web-{8D39CC4C-7613-5AB4-6B69-68D6BD138F4D}" dt="2020-11-30T23:17:43.264" v="1031"/>
          <ac:spMkLst>
            <pc:docMk/>
            <pc:sldMk cId="1933942813" sldId="274"/>
            <ac:spMk id="90" creationId="{28F24681-2FC8-49D7-B7DC-B344A56A41CF}"/>
          </ac:spMkLst>
        </pc:spChg>
        <pc:spChg chg="add">
          <ac:chgData name="Anchal  Bhamore" userId="S::2790260@vikes.csuohio.edu::3c0ae9e2-a394-4d39-948f-41c65fba8a73" providerId="AD" clId="Web-{8D39CC4C-7613-5AB4-6B69-68D6BD138F4D}" dt="2020-11-30T23:17:43.264" v="1031"/>
          <ac:spMkLst>
            <pc:docMk/>
            <pc:sldMk cId="1933942813" sldId="274"/>
            <ac:spMk id="91" creationId="{C997E094-08B2-470B-8D5F-8D9ED3C1C5A2}"/>
          </ac:spMkLst>
        </pc:spChg>
        <pc:grpChg chg="del">
          <ac:chgData name="Anchal  Bhamore" userId="S::2790260@vikes.csuohio.edu::3c0ae9e2-a394-4d39-948f-41c65fba8a73" providerId="AD" clId="Web-{8D39CC4C-7613-5AB4-6B69-68D6BD138F4D}" dt="2020-11-30T23:10:57.614" v="979"/>
          <ac:grpSpMkLst>
            <pc:docMk/>
            <pc:sldMk cId="1933942813" sldId="274"/>
            <ac:grpSpMk id="5" creationId="{62DCE8E2-0EF6-4CB0-BDA5-D655B4B6F4E7}"/>
          </ac:grpSpMkLst>
        </pc:grpChg>
        <pc:grpChg chg="del">
          <ac:chgData name="Anchal  Bhamore" userId="S::2790260@vikes.csuohio.edu::3c0ae9e2-a394-4d39-948f-41c65fba8a73" providerId="AD" clId="Web-{8D39CC4C-7613-5AB4-6B69-68D6BD138F4D}" dt="2020-11-30T23:10:57.614" v="978"/>
          <ac:grpSpMkLst>
            <pc:docMk/>
            <pc:sldMk cId="1933942813" sldId="274"/>
            <ac:grpSpMk id="10" creationId="{0E635103-E338-4C71-A5D7-D4321EF2E44A}"/>
          </ac:grpSpMkLst>
        </pc:grpChg>
        <pc:grpChg chg="add del">
          <ac:chgData name="Anchal  Bhamore" userId="S::2790260@vikes.csuohio.edu::3c0ae9e2-a394-4d39-948f-41c65fba8a73" providerId="AD" clId="Web-{8D39CC4C-7613-5AB4-6B69-68D6BD138F4D}" dt="2020-11-30T23:15:30.271" v="1001"/>
          <ac:grpSpMkLst>
            <pc:docMk/>
            <pc:sldMk cId="1933942813" sldId="274"/>
            <ac:grpSpMk id="34" creationId="{884CA3EB-996A-47ED-9BB8-90EEA594C1FD}"/>
          </ac:grpSpMkLst>
        </pc:grpChg>
        <pc:grpChg chg="add del">
          <ac:chgData name="Anchal  Bhamore" userId="S::2790260@vikes.csuohio.edu::3c0ae9e2-a394-4d39-948f-41c65fba8a73" providerId="AD" clId="Web-{8D39CC4C-7613-5AB4-6B69-68D6BD138F4D}" dt="2020-11-30T23:15:30.271" v="1000"/>
          <ac:grpSpMkLst>
            <pc:docMk/>
            <pc:sldMk cId="1933942813" sldId="274"/>
            <ac:grpSpMk id="35" creationId="{FF6A29BA-51AE-4824-AA77-F6EB233D295F}"/>
          </ac:grpSpMkLst>
        </pc:grpChg>
        <pc:grpChg chg="add">
          <ac:chgData name="Anchal  Bhamore" userId="S::2790260@vikes.csuohio.edu::3c0ae9e2-a394-4d39-948f-41c65fba8a73" providerId="AD" clId="Web-{8D39CC4C-7613-5AB4-6B69-68D6BD138F4D}" dt="2020-11-30T23:11:14.959" v="980"/>
          <ac:grpSpMkLst>
            <pc:docMk/>
            <pc:sldMk cId="1933942813" sldId="274"/>
            <ac:grpSpMk id="40" creationId="{E59F12E2-D494-40BD-B489-758011C4EEA8}"/>
          </ac:grpSpMkLst>
        </pc:grpChg>
        <pc:grpChg chg="add">
          <ac:chgData name="Anchal  Bhamore" userId="S::2790260@vikes.csuohio.edu::3c0ae9e2-a394-4d39-948f-41c65fba8a73" providerId="AD" clId="Web-{8D39CC4C-7613-5AB4-6B69-68D6BD138F4D}" dt="2020-11-30T23:11:14.959" v="980"/>
          <ac:grpSpMkLst>
            <pc:docMk/>
            <pc:sldMk cId="1933942813" sldId="274"/>
            <ac:grpSpMk id="41" creationId="{5ADC703D-2E50-4A30-91C9-D2AD1650CE4E}"/>
          </ac:grpSpMkLst>
        </pc:grpChg>
        <pc:grpChg chg="add">
          <ac:chgData name="Anchal  Bhamore" userId="S::2790260@vikes.csuohio.edu::3c0ae9e2-a394-4d39-948f-41c65fba8a73" providerId="AD" clId="Web-{8D39CC4C-7613-5AB4-6B69-68D6BD138F4D}" dt="2020-11-30T23:11:14.959" v="980"/>
          <ac:grpSpMkLst>
            <pc:docMk/>
            <pc:sldMk cId="1933942813" sldId="274"/>
            <ac:grpSpMk id="42" creationId="{7A0F3353-113C-414E-BD8E-1B8618BD9B14}"/>
          </ac:grpSpMkLst>
        </pc:grpChg>
        <pc:grpChg chg="add">
          <ac:chgData name="Anchal  Bhamore" userId="S::2790260@vikes.csuohio.edu::3c0ae9e2-a394-4d39-948f-41c65fba8a73" providerId="AD" clId="Web-{8D39CC4C-7613-5AB4-6B69-68D6BD138F4D}" dt="2020-11-30T23:17:43.264" v="1031"/>
          <ac:grpSpMkLst>
            <pc:docMk/>
            <pc:sldMk cId="1933942813" sldId="274"/>
            <ac:grpSpMk id="63" creationId="{25228140-6CE9-4182-B36F-DEA361C6AFA5}"/>
          </ac:grpSpMkLst>
        </pc:grpChg>
        <pc:grpChg chg="add">
          <ac:chgData name="Anchal  Bhamore" userId="S::2790260@vikes.csuohio.edu::3c0ae9e2-a394-4d39-948f-41c65fba8a73" providerId="AD" clId="Web-{8D39CC4C-7613-5AB4-6B69-68D6BD138F4D}" dt="2020-11-30T23:17:43.264" v="1031"/>
          <ac:grpSpMkLst>
            <pc:docMk/>
            <pc:sldMk cId="1933942813" sldId="274"/>
            <ac:grpSpMk id="64" creationId="{647BE741-BA63-4A50-BAD0-68417343154A}"/>
          </ac:grpSpMkLst>
        </pc:grpChg>
        <pc:grpChg chg="add">
          <ac:chgData name="Anchal  Bhamore" userId="S::2790260@vikes.csuohio.edu::3c0ae9e2-a394-4d39-948f-41c65fba8a73" providerId="AD" clId="Web-{8D39CC4C-7613-5AB4-6B69-68D6BD138F4D}" dt="2020-11-30T23:17:43.264" v="1031"/>
          <ac:grpSpMkLst>
            <pc:docMk/>
            <pc:sldMk cId="1933942813" sldId="274"/>
            <ac:grpSpMk id="69" creationId="{3A72F57B-B3D4-4211-8E8C-32B29374C391}"/>
          </ac:grpSpMkLst>
        </pc:grpChg>
        <pc:grpChg chg="add">
          <ac:chgData name="Anchal  Bhamore" userId="S::2790260@vikes.csuohio.edu::3c0ae9e2-a394-4d39-948f-41c65fba8a73" providerId="AD" clId="Web-{8D39CC4C-7613-5AB4-6B69-68D6BD138F4D}" dt="2020-11-30T23:17:43.264" v="1031"/>
          <ac:grpSpMkLst>
            <pc:docMk/>
            <pc:sldMk cId="1933942813" sldId="274"/>
            <ac:grpSpMk id="70" creationId="{9ECCCE5B-43C4-4588-8EDB-3EA3E9C12C69}"/>
          </ac:grpSpMkLst>
        </pc:grpChg>
        <pc:grpChg chg="add">
          <ac:chgData name="Anchal  Bhamore" userId="S::2790260@vikes.csuohio.edu::3c0ae9e2-a394-4d39-948f-41c65fba8a73" providerId="AD" clId="Web-{8D39CC4C-7613-5AB4-6B69-68D6BD138F4D}" dt="2020-11-30T23:17:43.264" v="1031"/>
          <ac:grpSpMkLst>
            <pc:docMk/>
            <pc:sldMk cId="1933942813" sldId="274"/>
            <ac:grpSpMk id="71" creationId="{2D59FCC8-A77A-41E7-89F3-414A7DC75116}"/>
          </ac:grpSpMkLst>
        </pc:grpChg>
      </pc:sldChg>
      <pc:sldChg chg="del">
        <pc:chgData name="Anchal  Bhamore" userId="S::2790260@vikes.csuohio.edu::3c0ae9e2-a394-4d39-948f-41c65fba8a73" providerId="AD" clId="Web-{8D39CC4C-7613-5AB4-6B69-68D6BD138F4D}" dt="2020-11-30T22:33:42.088" v="2"/>
        <pc:sldMkLst>
          <pc:docMk/>
          <pc:sldMk cId="4215470810" sldId="275"/>
        </pc:sldMkLst>
      </pc:sldChg>
      <pc:sldChg chg="addSp delSp modSp ord">
        <pc:chgData name="Anchal  Bhamore" userId="S::2790260@vikes.csuohio.edu::3c0ae9e2-a394-4d39-948f-41c65fba8a73" providerId="AD" clId="Web-{8D39CC4C-7613-5AB4-6B69-68D6BD138F4D}" dt="2020-11-30T22:44:25.440" v="362" actId="1076"/>
        <pc:sldMkLst>
          <pc:docMk/>
          <pc:sldMk cId="484336297" sldId="276"/>
        </pc:sldMkLst>
        <pc:spChg chg="mod">
          <ac:chgData name="Anchal  Bhamore" userId="S::2790260@vikes.csuohio.edu::3c0ae9e2-a394-4d39-948f-41c65fba8a73" providerId="AD" clId="Web-{8D39CC4C-7613-5AB4-6B69-68D6BD138F4D}" dt="2020-11-30T22:42:56.809" v="335" actId="20577"/>
          <ac:spMkLst>
            <pc:docMk/>
            <pc:sldMk cId="484336297" sldId="276"/>
            <ac:spMk id="2" creationId="{84CC8A5B-A025-4B42-B63D-FF09983144BB}"/>
          </ac:spMkLst>
        </pc:spChg>
        <pc:spChg chg="mod">
          <ac:chgData name="Anchal  Bhamore" userId="S::2790260@vikes.csuohio.edu::3c0ae9e2-a394-4d39-948f-41c65fba8a73" providerId="AD" clId="Web-{8D39CC4C-7613-5AB4-6B69-68D6BD138F4D}" dt="2020-11-30T22:44:25.440" v="362" actId="1076"/>
          <ac:spMkLst>
            <pc:docMk/>
            <pc:sldMk cId="484336297" sldId="276"/>
            <ac:spMk id="3" creationId="{E91E8E90-7E10-4902-80B4-2B9466106119}"/>
          </ac:spMkLst>
        </pc:spChg>
        <pc:picChg chg="add mod">
          <ac:chgData name="Anchal  Bhamore" userId="S::2790260@vikes.csuohio.edu::3c0ae9e2-a394-4d39-948f-41c65fba8a73" providerId="AD" clId="Web-{8D39CC4C-7613-5AB4-6B69-68D6BD138F4D}" dt="2020-11-30T22:43:23.029" v="344" actId="1076"/>
          <ac:picMkLst>
            <pc:docMk/>
            <pc:sldMk cId="484336297" sldId="276"/>
            <ac:picMk id="5" creationId="{C43F0D4A-1895-46FF-8CB0-6D37D6033A81}"/>
          </ac:picMkLst>
        </pc:picChg>
        <pc:picChg chg="add mod">
          <ac:chgData name="Anchal  Bhamore" userId="S::2790260@vikes.csuohio.edu::3c0ae9e2-a394-4d39-948f-41c65fba8a73" providerId="AD" clId="Web-{8D39CC4C-7613-5AB4-6B69-68D6BD138F4D}" dt="2020-11-30T22:43:26.920" v="345" actId="1076"/>
          <ac:picMkLst>
            <pc:docMk/>
            <pc:sldMk cId="484336297" sldId="276"/>
            <ac:picMk id="6" creationId="{59063582-404B-4FB8-8945-AE8A503CEBEB}"/>
          </ac:picMkLst>
        </pc:picChg>
        <pc:picChg chg="add mod">
          <ac:chgData name="Anchal  Bhamore" userId="S::2790260@vikes.csuohio.edu::3c0ae9e2-a394-4d39-948f-41c65fba8a73" providerId="AD" clId="Web-{8D39CC4C-7613-5AB4-6B69-68D6BD138F4D}" dt="2020-11-30T22:43:33.077" v="347" actId="1076"/>
          <ac:picMkLst>
            <pc:docMk/>
            <pc:sldMk cId="484336297" sldId="276"/>
            <ac:picMk id="7" creationId="{D538DE17-D92D-44D5-92A6-034DAE85FC0E}"/>
          </ac:picMkLst>
        </pc:picChg>
        <pc:picChg chg="add del mod">
          <ac:chgData name="Anchal  Bhamore" userId="S::2790260@vikes.csuohio.edu::3c0ae9e2-a394-4d39-948f-41c65fba8a73" providerId="AD" clId="Web-{8D39CC4C-7613-5AB4-6B69-68D6BD138F4D}" dt="2020-11-30T22:42:14.353" v="293"/>
          <ac:picMkLst>
            <pc:docMk/>
            <pc:sldMk cId="484336297" sldId="276"/>
            <ac:picMk id="8" creationId="{D7994F33-F9BB-42B5-BC66-1E2BFB0BB02E}"/>
          </ac:picMkLst>
        </pc:picChg>
        <pc:picChg chg="add mod">
          <ac:chgData name="Anchal  Bhamore" userId="S::2790260@vikes.csuohio.edu::3c0ae9e2-a394-4d39-948f-41c65fba8a73" providerId="AD" clId="Web-{8D39CC4C-7613-5AB4-6B69-68D6BD138F4D}" dt="2020-11-30T22:43:36.812" v="348" actId="1076"/>
          <ac:picMkLst>
            <pc:docMk/>
            <pc:sldMk cId="484336297" sldId="276"/>
            <ac:picMk id="9" creationId="{07F346BC-E585-41C4-B270-8DD90B5C5CC9}"/>
          </ac:picMkLst>
        </pc:picChg>
        <pc:picChg chg="add mod">
          <ac:chgData name="Anchal  Bhamore" userId="S::2790260@vikes.csuohio.edu::3c0ae9e2-a394-4d39-948f-41c65fba8a73" providerId="AD" clId="Web-{8D39CC4C-7613-5AB4-6B69-68D6BD138F4D}" dt="2020-11-30T22:43:29.389" v="346" actId="1076"/>
          <ac:picMkLst>
            <pc:docMk/>
            <pc:sldMk cId="484336297" sldId="276"/>
            <ac:picMk id="10" creationId="{D236E396-DF05-4AE4-B5CA-2D56AB290DB3}"/>
          </ac:picMkLst>
        </pc:picChg>
      </pc:sldChg>
      <pc:sldChg chg="delSp del">
        <pc:chgData name="Anchal  Bhamore" userId="S::2790260@vikes.csuohio.edu::3c0ae9e2-a394-4d39-948f-41c65fba8a73" providerId="AD" clId="Web-{8D39CC4C-7613-5AB4-6B69-68D6BD138F4D}" dt="2020-11-30T23:10:27.081" v="977"/>
        <pc:sldMkLst>
          <pc:docMk/>
          <pc:sldMk cId="3602943193" sldId="278"/>
        </pc:sldMkLst>
        <pc:spChg chg="del">
          <ac:chgData name="Anchal  Bhamore" userId="S::2790260@vikes.csuohio.edu::3c0ae9e2-a394-4d39-948f-41c65fba8a73" providerId="AD" clId="Web-{8D39CC4C-7613-5AB4-6B69-68D6BD138F4D}" dt="2020-11-30T23:06:48.068" v="948"/>
          <ac:spMkLst>
            <pc:docMk/>
            <pc:sldMk cId="3602943193" sldId="278"/>
            <ac:spMk id="6" creationId="{287B943A-DB19-4FB3-BEB2-36AF1609A331}"/>
          </ac:spMkLst>
        </pc:spChg>
        <pc:spChg chg="del">
          <ac:chgData name="Anchal  Bhamore" userId="S::2790260@vikes.csuohio.edu::3c0ae9e2-a394-4d39-948f-41c65fba8a73" providerId="AD" clId="Web-{8D39CC4C-7613-5AB4-6B69-68D6BD138F4D}" dt="2020-11-30T23:06:48.068" v="947"/>
          <ac:spMkLst>
            <pc:docMk/>
            <pc:sldMk cId="3602943193" sldId="278"/>
            <ac:spMk id="7" creationId="{2C6445D3-1CDE-459A-8AE2-120A118238DB}"/>
          </ac:spMkLst>
        </pc:spChg>
        <pc:spChg chg="del">
          <ac:chgData name="Anchal  Bhamore" userId="S::2790260@vikes.csuohio.edu::3c0ae9e2-a394-4d39-948f-41c65fba8a73" providerId="AD" clId="Web-{8D39CC4C-7613-5AB4-6B69-68D6BD138F4D}" dt="2020-11-30T23:06:48.068" v="946"/>
          <ac:spMkLst>
            <pc:docMk/>
            <pc:sldMk cId="3602943193" sldId="278"/>
            <ac:spMk id="8" creationId="{46B7E1CF-8A64-41C0-98EC-73F54339D584}"/>
          </ac:spMkLst>
        </pc:spChg>
        <pc:spChg chg="del">
          <ac:chgData name="Anchal  Bhamore" userId="S::2790260@vikes.csuohio.edu::3c0ae9e2-a394-4d39-948f-41c65fba8a73" providerId="AD" clId="Web-{8D39CC4C-7613-5AB4-6B69-68D6BD138F4D}" dt="2020-11-30T23:06:48.068" v="944"/>
          <ac:spMkLst>
            <pc:docMk/>
            <pc:sldMk cId="3602943193" sldId="278"/>
            <ac:spMk id="10" creationId="{C75ABB6A-D81D-458A-A30A-94BB28B80F5B}"/>
          </ac:spMkLst>
        </pc:spChg>
        <pc:spChg chg="del">
          <ac:chgData name="Anchal  Bhamore" userId="S::2790260@vikes.csuohio.edu::3c0ae9e2-a394-4d39-948f-41c65fba8a73" providerId="AD" clId="Web-{8D39CC4C-7613-5AB4-6B69-68D6BD138F4D}" dt="2020-11-30T23:06:48.068" v="943"/>
          <ac:spMkLst>
            <pc:docMk/>
            <pc:sldMk cId="3602943193" sldId="278"/>
            <ac:spMk id="11" creationId="{3A19F2C8-14B9-4D41-B30D-8D48B92F24E6}"/>
          </ac:spMkLst>
        </pc:spChg>
        <pc:spChg chg="del">
          <ac:chgData name="Anchal  Bhamore" userId="S::2790260@vikes.csuohio.edu::3c0ae9e2-a394-4d39-948f-41c65fba8a73" providerId="AD" clId="Web-{8D39CC4C-7613-5AB4-6B69-68D6BD138F4D}" dt="2020-11-30T23:06:48.068" v="942"/>
          <ac:spMkLst>
            <pc:docMk/>
            <pc:sldMk cId="3602943193" sldId="278"/>
            <ac:spMk id="12" creationId="{715BDD76-AE58-4137-A402-A895CB89D60C}"/>
          </ac:spMkLst>
        </pc:spChg>
        <pc:spChg chg="del">
          <ac:chgData name="Anchal  Bhamore" userId="S::2790260@vikes.csuohio.edu::3c0ae9e2-a394-4d39-948f-41c65fba8a73" providerId="AD" clId="Web-{8D39CC4C-7613-5AB4-6B69-68D6BD138F4D}" dt="2020-11-30T23:06:48.052" v="941"/>
          <ac:spMkLst>
            <pc:docMk/>
            <pc:sldMk cId="3602943193" sldId="278"/>
            <ac:spMk id="13" creationId="{1A369947-6DC9-4DB8-A727-2FE3F92613FF}"/>
          </ac:spMkLst>
        </pc:spChg>
        <pc:cxnChg chg="del">
          <ac:chgData name="Anchal  Bhamore" userId="S::2790260@vikes.csuohio.edu::3c0ae9e2-a394-4d39-948f-41c65fba8a73" providerId="AD" clId="Web-{8D39CC4C-7613-5AB4-6B69-68D6BD138F4D}" dt="2020-11-30T23:06:48.068" v="945"/>
          <ac:cxnSpMkLst>
            <pc:docMk/>
            <pc:sldMk cId="3602943193" sldId="278"/>
            <ac:cxnSpMk id="9" creationId="{00BD69F6-85F7-4E81-A046-3ABD9A1C2476}"/>
          </ac:cxnSpMkLst>
        </pc:cxnChg>
      </pc:sldChg>
      <pc:sldChg chg="addSp delSp modSp">
        <pc:chgData name="Anchal  Bhamore" userId="S::2790260@vikes.csuohio.edu::3c0ae9e2-a394-4d39-948f-41c65fba8a73" providerId="AD" clId="Web-{8D39CC4C-7613-5AB4-6B69-68D6BD138F4D}" dt="2020-11-30T23:23:35.332" v="1147"/>
        <pc:sldMkLst>
          <pc:docMk/>
          <pc:sldMk cId="2943763322" sldId="280"/>
        </pc:sldMkLst>
        <pc:spChg chg="mod">
          <ac:chgData name="Anchal  Bhamore" userId="S::2790260@vikes.csuohio.edu::3c0ae9e2-a394-4d39-948f-41c65fba8a73" providerId="AD" clId="Web-{8D39CC4C-7613-5AB4-6B69-68D6BD138F4D}" dt="2020-11-30T23:23:35.332" v="1147"/>
          <ac:spMkLst>
            <pc:docMk/>
            <pc:sldMk cId="2943763322" sldId="280"/>
            <ac:spMk id="4" creationId="{2158B3D4-06EC-482C-BEC1-173AF4E8C41C}"/>
          </ac:spMkLst>
        </pc:spChg>
        <pc:spChg chg="del">
          <ac:chgData name="Anchal  Bhamore" userId="S::2790260@vikes.csuohio.edu::3c0ae9e2-a394-4d39-948f-41c65fba8a73" providerId="AD" clId="Web-{8D39CC4C-7613-5AB4-6B69-68D6BD138F4D}" dt="2020-11-30T23:03:53.792" v="914"/>
          <ac:spMkLst>
            <pc:docMk/>
            <pc:sldMk cId="2943763322" sldId="280"/>
            <ac:spMk id="10" creationId="{BCED4D40-4B67-4331-AC48-79B82B4A47D8}"/>
          </ac:spMkLst>
        </pc:spChg>
        <pc:spChg chg="del">
          <ac:chgData name="Anchal  Bhamore" userId="S::2790260@vikes.csuohio.edu::3c0ae9e2-a394-4d39-948f-41c65fba8a73" providerId="AD" clId="Web-{8D39CC4C-7613-5AB4-6B69-68D6BD138F4D}" dt="2020-11-30T23:03:53.792" v="914"/>
          <ac:spMkLst>
            <pc:docMk/>
            <pc:sldMk cId="2943763322" sldId="280"/>
            <ac:spMk id="12" creationId="{670CEDEF-4F34-412E-84EE-329C1E936AF5}"/>
          </ac:spMkLst>
        </pc:spChg>
        <pc:spChg chg="add del">
          <ac:chgData name="Anchal  Bhamore" userId="S::2790260@vikes.csuohio.edu::3c0ae9e2-a394-4d39-948f-41c65fba8a73" providerId="AD" clId="Web-{8D39CC4C-7613-5AB4-6B69-68D6BD138F4D}" dt="2020-11-30T23:23:35.332" v="1147"/>
          <ac:spMkLst>
            <pc:docMk/>
            <pc:sldMk cId="2943763322" sldId="280"/>
            <ac:spMk id="17" creationId="{A4AC5506-6312-4701-8D3C-40187889A947}"/>
          </ac:spMkLst>
        </pc:spChg>
        <pc:spChg chg="add">
          <ac:chgData name="Anchal  Bhamore" userId="S::2790260@vikes.csuohio.edu::3c0ae9e2-a394-4d39-948f-41c65fba8a73" providerId="AD" clId="Web-{8D39CC4C-7613-5AB4-6B69-68D6BD138F4D}" dt="2020-11-30T23:23:35.332" v="1147"/>
          <ac:spMkLst>
            <pc:docMk/>
            <pc:sldMk cId="2943763322" sldId="280"/>
            <ac:spMk id="22" creationId="{A4AC5506-6312-4701-8D3C-40187889A947}"/>
          </ac:spMkLst>
        </pc:spChg>
        <pc:graphicFrameChg chg="mod modGraphic">
          <ac:chgData name="Anchal  Bhamore" userId="S::2790260@vikes.csuohio.edu::3c0ae9e2-a394-4d39-948f-41c65fba8a73" providerId="AD" clId="Web-{8D39CC4C-7613-5AB4-6B69-68D6BD138F4D}" dt="2020-11-30T23:23:35.332" v="1147"/>
          <ac:graphicFrameMkLst>
            <pc:docMk/>
            <pc:sldMk cId="2943763322" sldId="280"/>
            <ac:graphicFrameMk id="5" creationId="{98FD0B16-DAFD-4BC2-878B-24F04F842071}"/>
          </ac:graphicFrameMkLst>
        </pc:graphicFrameChg>
      </pc:sldChg>
      <pc:sldChg chg="modSp">
        <pc:chgData name="Anchal  Bhamore" userId="S::2790260@vikes.csuohio.edu::3c0ae9e2-a394-4d39-948f-41c65fba8a73" providerId="AD" clId="Web-{8D39CC4C-7613-5AB4-6B69-68D6BD138F4D}" dt="2020-11-30T23:27:47.957" v="1206"/>
        <pc:sldMkLst>
          <pc:docMk/>
          <pc:sldMk cId="2836160367" sldId="282"/>
        </pc:sldMkLst>
        <pc:graphicFrameChg chg="mod modGraphic">
          <ac:chgData name="Anchal  Bhamore" userId="S::2790260@vikes.csuohio.edu::3c0ae9e2-a394-4d39-948f-41c65fba8a73" providerId="AD" clId="Web-{8D39CC4C-7613-5AB4-6B69-68D6BD138F4D}" dt="2020-11-30T23:27:47.957" v="1206"/>
          <ac:graphicFrameMkLst>
            <pc:docMk/>
            <pc:sldMk cId="2836160367" sldId="282"/>
            <ac:graphicFrameMk id="3" creationId="{F66B2361-25E9-4F36-BAA9-22594DE7EB64}"/>
          </ac:graphicFrameMkLst>
        </pc:graphicFrameChg>
      </pc:sldChg>
      <pc:sldChg chg="del">
        <pc:chgData name="Anchal  Bhamore" userId="S::2790260@vikes.csuohio.edu::3c0ae9e2-a394-4d39-948f-41c65fba8a73" providerId="AD" clId="Web-{8D39CC4C-7613-5AB4-6B69-68D6BD138F4D}" dt="2020-11-30T22:34:57.530" v="3"/>
        <pc:sldMkLst>
          <pc:docMk/>
          <pc:sldMk cId="3508727261" sldId="283"/>
        </pc:sldMkLst>
      </pc:sldChg>
      <pc:sldChg chg="ord">
        <pc:chgData name="Anchal  Bhamore" userId="S::2790260@vikes.csuohio.edu::3c0ae9e2-a394-4d39-948f-41c65fba8a73" providerId="AD" clId="Web-{8D39CC4C-7613-5AB4-6B69-68D6BD138F4D}" dt="2020-11-30T23:23:05.971" v="1145"/>
        <pc:sldMkLst>
          <pc:docMk/>
          <pc:sldMk cId="2333032449" sldId="284"/>
        </pc:sldMkLst>
      </pc:sldChg>
      <pc:sldChg chg="addSp delSp modSp mod setBg">
        <pc:chgData name="Anchal  Bhamore" userId="S::2790260@vikes.csuohio.edu::3c0ae9e2-a394-4d39-948f-41c65fba8a73" providerId="AD" clId="Web-{8D39CC4C-7613-5AB4-6B69-68D6BD138F4D}" dt="2020-12-01T00:06:04.725" v="1218"/>
        <pc:sldMkLst>
          <pc:docMk/>
          <pc:sldMk cId="2742197637" sldId="287"/>
        </pc:sldMkLst>
        <pc:spChg chg="del mod">
          <ac:chgData name="Anchal  Bhamore" userId="S::2790260@vikes.csuohio.edu::3c0ae9e2-a394-4d39-948f-41c65fba8a73" providerId="AD" clId="Web-{8D39CC4C-7613-5AB4-6B69-68D6BD138F4D}" dt="2020-12-01T00:06:02.318" v="1217"/>
          <ac:spMkLst>
            <pc:docMk/>
            <pc:sldMk cId="2742197637" sldId="287"/>
            <ac:spMk id="2" creationId="{0FEB9980-727E-435F-9840-968F937DB325}"/>
          </ac:spMkLst>
        </pc:spChg>
        <pc:spChg chg="del mod">
          <ac:chgData name="Anchal  Bhamore" userId="S::2790260@vikes.csuohio.edu::3c0ae9e2-a394-4d39-948f-41c65fba8a73" providerId="AD" clId="Web-{8D39CC4C-7613-5AB4-6B69-68D6BD138F4D}" dt="2020-12-01T00:05:56.615" v="1216"/>
          <ac:spMkLst>
            <pc:docMk/>
            <pc:sldMk cId="2742197637" sldId="287"/>
            <ac:spMk id="3" creationId="{A4713903-06F3-4079-B2A7-C19B2D091D83}"/>
          </ac:spMkLst>
        </pc:spChg>
        <pc:spChg chg="add del">
          <ac:chgData name="Anchal  Bhamore" userId="S::2790260@vikes.csuohio.edu::3c0ae9e2-a394-4d39-948f-41c65fba8a73" providerId="AD" clId="Web-{8D39CC4C-7613-5AB4-6B69-68D6BD138F4D}" dt="2020-12-01T00:06:04.725" v="1218"/>
          <ac:spMkLst>
            <pc:docMk/>
            <pc:sldMk cId="2742197637" sldId="287"/>
            <ac:spMk id="71" creationId="{71FC7D98-7B8B-402A-90FC-F027482F2142}"/>
          </ac:spMkLst>
        </pc:spChg>
        <pc:spChg chg="add del">
          <ac:chgData name="Anchal  Bhamore" userId="S::2790260@vikes.csuohio.edu::3c0ae9e2-a394-4d39-948f-41c65fba8a73" providerId="AD" clId="Web-{8D39CC4C-7613-5AB4-6B69-68D6BD138F4D}" dt="2020-12-01T00:06:04.725" v="1218"/>
          <ac:spMkLst>
            <pc:docMk/>
            <pc:sldMk cId="2742197637" sldId="287"/>
            <ac:spMk id="73" creationId="{AD7356EA-285B-4E5D-8FEC-104659A4FD2C}"/>
          </ac:spMkLst>
        </pc:spChg>
        <pc:spChg chg="add">
          <ac:chgData name="Anchal  Bhamore" userId="S::2790260@vikes.csuohio.edu::3c0ae9e2-a394-4d39-948f-41c65fba8a73" providerId="AD" clId="Web-{8D39CC4C-7613-5AB4-6B69-68D6BD138F4D}" dt="2020-12-01T00:06:04.725" v="1218"/>
          <ac:spMkLst>
            <pc:docMk/>
            <pc:sldMk cId="2742197637" sldId="287"/>
            <ac:spMk id="135" creationId="{42A4FC2C-047E-45A5-965D-8E1E3BF09BC6}"/>
          </ac:spMkLst>
        </pc:spChg>
        <pc:picChg chg="add del mod">
          <ac:chgData name="Anchal  Bhamore" userId="S::2790260@vikes.csuohio.edu::3c0ae9e2-a394-4d39-948f-41c65fba8a73" providerId="AD" clId="Web-{8D39CC4C-7613-5AB4-6B69-68D6BD138F4D}" dt="2020-12-01T00:06:04.725" v="1218"/>
          <ac:picMkLst>
            <pc:docMk/>
            <pc:sldMk cId="2742197637" sldId="287"/>
            <ac:picMk id="2050" creationId="{636D30F3-F15C-48D3-96C7-D94D185D4522}"/>
          </ac:picMkLst>
        </pc:picChg>
      </pc:sldChg>
      <pc:sldChg chg="addSp delSp modSp new mod setBg">
        <pc:chgData name="Anchal  Bhamore" userId="S::2790260@vikes.csuohio.edu::3c0ae9e2-a394-4d39-948f-41c65fba8a73" providerId="AD" clId="Web-{8D39CC4C-7613-5AB4-6B69-68D6BD138F4D}" dt="2020-11-30T23:02:23.239" v="877" actId="20577"/>
        <pc:sldMkLst>
          <pc:docMk/>
          <pc:sldMk cId="311214724" sldId="288"/>
        </pc:sldMkLst>
        <pc:spChg chg="mod">
          <ac:chgData name="Anchal  Bhamore" userId="S::2790260@vikes.csuohio.edu::3c0ae9e2-a394-4d39-948f-41c65fba8a73" providerId="AD" clId="Web-{8D39CC4C-7613-5AB4-6B69-68D6BD138F4D}" dt="2020-11-30T23:02:23.239" v="877" actId="20577"/>
          <ac:spMkLst>
            <pc:docMk/>
            <pc:sldMk cId="311214724" sldId="288"/>
            <ac:spMk id="2" creationId="{4402D4FD-0BA2-49D4-96EB-BA09C314E53E}"/>
          </ac:spMkLst>
        </pc:spChg>
        <pc:spChg chg="del mod">
          <ac:chgData name="Anchal  Bhamore" userId="S::2790260@vikes.csuohio.edu::3c0ae9e2-a394-4d39-948f-41c65fba8a73" providerId="AD" clId="Web-{8D39CC4C-7613-5AB4-6B69-68D6BD138F4D}" dt="2020-11-30T22:49:30.333" v="492"/>
          <ac:spMkLst>
            <pc:docMk/>
            <pc:sldMk cId="311214724" sldId="288"/>
            <ac:spMk id="3" creationId="{41E03A80-0A58-4E7A-9134-C8B5B3A4C461}"/>
          </ac:spMkLst>
        </pc:spChg>
        <pc:spChg chg="add del">
          <ac:chgData name="Anchal  Bhamore" userId="S::2790260@vikes.csuohio.edu::3c0ae9e2-a394-4d39-948f-41c65fba8a73" providerId="AD" clId="Web-{8D39CC4C-7613-5AB4-6B69-68D6BD138F4D}" dt="2020-11-30T22:49:37.177" v="495"/>
          <ac:spMkLst>
            <pc:docMk/>
            <pc:sldMk cId="311214724" sldId="288"/>
            <ac:spMk id="12" creationId="{7F57BEA8-497D-4AA8-8A18-BDCD696B25FE}"/>
          </ac:spMkLst>
        </pc:spChg>
        <pc:spChg chg="add">
          <ac:chgData name="Anchal  Bhamore" userId="S::2790260@vikes.csuohio.edu::3c0ae9e2-a394-4d39-948f-41c65fba8a73" providerId="AD" clId="Web-{8D39CC4C-7613-5AB4-6B69-68D6BD138F4D}" dt="2020-11-30T22:49:37.177" v="495"/>
          <ac:spMkLst>
            <pc:docMk/>
            <pc:sldMk cId="311214724" sldId="288"/>
            <ac:spMk id="18" creationId="{A4AC5506-6312-4701-8D3C-40187889A947}"/>
          </ac:spMkLst>
        </pc:spChg>
        <pc:spChg chg="add del">
          <ac:chgData name="Anchal  Bhamore" userId="S::2790260@vikes.csuohio.edu::3c0ae9e2-a394-4d39-948f-41c65fba8a73" providerId="AD" clId="Web-{8D39CC4C-7613-5AB4-6B69-68D6BD138F4D}" dt="2020-11-30T22:49:37.083" v="494"/>
          <ac:spMkLst>
            <pc:docMk/>
            <pc:sldMk cId="311214724" sldId="288"/>
            <ac:spMk id="21" creationId="{53F29798-D584-4792-9B62-3F5F5C36D619}"/>
          </ac:spMkLst>
        </pc:spChg>
        <pc:graphicFrameChg chg="add mod modGraphic">
          <ac:chgData name="Anchal  Bhamore" userId="S::2790260@vikes.csuohio.edu::3c0ae9e2-a394-4d39-948f-41c65fba8a73" providerId="AD" clId="Web-{8D39CC4C-7613-5AB4-6B69-68D6BD138F4D}" dt="2020-11-30T22:55:05.759" v="693"/>
          <ac:graphicFrameMkLst>
            <pc:docMk/>
            <pc:sldMk cId="311214724" sldId="288"/>
            <ac:graphicFrameMk id="5" creationId="{D1318A66-DB2D-4B11-BF4A-E8D2320F9F9B}"/>
          </ac:graphicFrameMkLst>
        </pc:graphicFrameChg>
        <pc:cxnChg chg="add del">
          <ac:chgData name="Anchal  Bhamore" userId="S::2790260@vikes.csuohio.edu::3c0ae9e2-a394-4d39-948f-41c65fba8a73" providerId="AD" clId="Web-{8D39CC4C-7613-5AB4-6B69-68D6BD138F4D}" dt="2020-11-30T22:49:37.177" v="495"/>
          <ac:cxnSpMkLst>
            <pc:docMk/>
            <pc:sldMk cId="311214724" sldId="288"/>
            <ac:cxnSpMk id="10" creationId="{D2E961F1-4A28-4A5F-BBD4-6E400E5E6C75}"/>
          </ac:cxnSpMkLst>
        </pc:cxnChg>
        <pc:cxnChg chg="add del">
          <ac:chgData name="Anchal  Bhamore" userId="S::2790260@vikes.csuohio.edu::3c0ae9e2-a394-4d39-948f-41c65fba8a73" providerId="AD" clId="Web-{8D39CC4C-7613-5AB4-6B69-68D6BD138F4D}" dt="2020-11-30T22:49:37.177" v="495"/>
          <ac:cxnSpMkLst>
            <pc:docMk/>
            <pc:sldMk cId="311214724" sldId="288"/>
            <ac:cxnSpMk id="14" creationId="{A82415D3-DDE5-4D63-8CB3-23A5EC581B27}"/>
          </ac:cxnSpMkLst>
        </pc:cxnChg>
        <pc:cxnChg chg="add del">
          <ac:chgData name="Anchal  Bhamore" userId="S::2790260@vikes.csuohio.edu::3c0ae9e2-a394-4d39-948f-41c65fba8a73" providerId="AD" clId="Web-{8D39CC4C-7613-5AB4-6B69-68D6BD138F4D}" dt="2020-11-30T22:49:37.177" v="495"/>
          <ac:cxnSpMkLst>
            <pc:docMk/>
            <pc:sldMk cId="311214724" sldId="288"/>
            <ac:cxnSpMk id="16" creationId="{AD7193FB-6AE6-4B3B-8F89-56B55DD63B4D}"/>
          </ac:cxnSpMkLst>
        </pc:cxnChg>
      </pc:sldChg>
      <pc:sldChg chg="add del replId">
        <pc:chgData name="Anchal  Bhamore" userId="S::2790260@vikes.csuohio.edu::3c0ae9e2-a394-4d39-948f-41c65fba8a73" providerId="AD" clId="Web-{8D39CC4C-7613-5AB4-6B69-68D6BD138F4D}" dt="2020-11-30T23:04:59.702" v="919"/>
        <pc:sldMkLst>
          <pc:docMk/>
          <pc:sldMk cId="457104416" sldId="289"/>
        </pc:sldMkLst>
      </pc:sldChg>
      <pc:sldChg chg="delSp new del">
        <pc:chgData name="Anchal  Bhamore" userId="S::2790260@vikes.csuohio.edu::3c0ae9e2-a394-4d39-948f-41c65fba8a73" providerId="AD" clId="Web-{8D39CC4C-7613-5AB4-6B69-68D6BD138F4D}" dt="2020-11-30T23:10:24.378" v="976"/>
        <pc:sldMkLst>
          <pc:docMk/>
          <pc:sldMk cId="2641379285" sldId="289"/>
        </pc:sldMkLst>
        <pc:spChg chg="del">
          <ac:chgData name="Anchal  Bhamore" userId="S::2790260@vikes.csuohio.edu::3c0ae9e2-a394-4d39-948f-41c65fba8a73" providerId="AD" clId="Web-{8D39CC4C-7613-5AB4-6B69-68D6BD138F4D}" dt="2020-11-30T23:05:20.375" v="921"/>
          <ac:spMkLst>
            <pc:docMk/>
            <pc:sldMk cId="2641379285" sldId="289"/>
            <ac:spMk id="2" creationId="{1EAB9665-C6F0-4E82-9D05-C7509F6C3CFB}"/>
          </ac:spMkLst>
        </pc:spChg>
        <pc:spChg chg="del">
          <ac:chgData name="Anchal  Bhamore" userId="S::2790260@vikes.csuohio.edu::3c0ae9e2-a394-4d39-948f-41c65fba8a73" providerId="AD" clId="Web-{8D39CC4C-7613-5AB4-6B69-68D6BD138F4D}" dt="2020-11-30T23:05:22.688" v="922"/>
          <ac:spMkLst>
            <pc:docMk/>
            <pc:sldMk cId="2641379285" sldId="289"/>
            <ac:spMk id="3" creationId="{1DD4D1A2-74FF-4799-A95C-FD714147E7B0}"/>
          </ac:spMkLst>
        </pc:spChg>
      </pc:sldChg>
      <pc:sldChg chg="addSp delSp modSp add replId">
        <pc:chgData name="Anchal  Bhamore" userId="S::2790260@vikes.csuohio.edu::3c0ae9e2-a394-4d39-948f-41c65fba8a73" providerId="AD" clId="Web-{8D39CC4C-7613-5AB4-6B69-68D6BD138F4D}" dt="2020-11-30T23:09:49.719" v="975"/>
        <pc:sldMkLst>
          <pc:docMk/>
          <pc:sldMk cId="2535490523" sldId="290"/>
        </pc:sldMkLst>
        <pc:spChg chg="mod">
          <ac:chgData name="Anchal  Bhamore" userId="S::2790260@vikes.csuohio.edu::3c0ae9e2-a394-4d39-948f-41c65fba8a73" providerId="AD" clId="Web-{8D39CC4C-7613-5AB4-6B69-68D6BD138F4D}" dt="2020-11-30T23:05:54.143" v="930" actId="20577"/>
          <ac:spMkLst>
            <pc:docMk/>
            <pc:sldMk cId="2535490523" sldId="290"/>
            <ac:spMk id="2" creationId="{CA2E3049-03A0-4F7D-987B-924CC0066E7E}"/>
          </ac:spMkLst>
        </pc:spChg>
        <pc:spChg chg="add mod">
          <ac:chgData name="Anchal  Bhamore" userId="S::2790260@vikes.csuohio.edu::3c0ae9e2-a394-4d39-948f-41c65fba8a73" providerId="AD" clId="Web-{8D39CC4C-7613-5AB4-6B69-68D6BD138F4D}" dt="2020-11-30T23:06:38.364" v="940" actId="14100"/>
          <ac:spMkLst>
            <pc:docMk/>
            <pc:sldMk cId="2535490523" sldId="290"/>
            <ac:spMk id="3" creationId="{830F22B0-C1E3-4B7C-9397-FE57DA2F54B2}"/>
          </ac:spMkLst>
        </pc:spChg>
        <pc:spChg chg="add mod">
          <ac:chgData name="Anchal  Bhamore" userId="S::2790260@vikes.csuohio.edu::3c0ae9e2-a394-4d39-948f-41c65fba8a73" providerId="AD" clId="Web-{8D39CC4C-7613-5AB4-6B69-68D6BD138F4D}" dt="2020-11-30T23:07:17.538" v="954" actId="14100"/>
          <ac:spMkLst>
            <pc:docMk/>
            <pc:sldMk cId="2535490523" sldId="290"/>
            <ac:spMk id="4" creationId="{D07DB012-54B4-496E-8BA2-9272CACF0D14}"/>
          </ac:spMkLst>
        </pc:spChg>
        <pc:spChg chg="add mod">
          <ac:chgData name="Anchal  Bhamore" userId="S::2790260@vikes.csuohio.edu::3c0ae9e2-a394-4d39-948f-41c65fba8a73" providerId="AD" clId="Web-{8D39CC4C-7613-5AB4-6B69-68D6BD138F4D}" dt="2020-11-30T23:09:28.859" v="970"/>
          <ac:spMkLst>
            <pc:docMk/>
            <pc:sldMk cId="2535490523" sldId="290"/>
            <ac:spMk id="6" creationId="{937BAA88-9E96-4388-9C67-2034299AF30E}"/>
          </ac:spMkLst>
        </pc:spChg>
        <pc:spChg chg="add mod ord">
          <ac:chgData name="Anchal  Bhamore" userId="S::2790260@vikes.csuohio.edu::3c0ae9e2-a394-4d39-948f-41c65fba8a73" providerId="AD" clId="Web-{8D39CC4C-7613-5AB4-6B69-68D6BD138F4D}" dt="2020-11-30T23:09:49.719" v="975"/>
          <ac:spMkLst>
            <pc:docMk/>
            <pc:sldMk cId="2535490523" sldId="290"/>
            <ac:spMk id="8" creationId="{022CEC0C-E86B-4823-A759-11E71212A213}"/>
          </ac:spMkLst>
        </pc:spChg>
        <pc:spChg chg="add mod ord">
          <ac:chgData name="Anchal  Bhamore" userId="S::2790260@vikes.csuohio.edu::3c0ae9e2-a394-4d39-948f-41c65fba8a73" providerId="AD" clId="Web-{8D39CC4C-7613-5AB4-6B69-68D6BD138F4D}" dt="2020-11-30T23:09:24.265" v="969"/>
          <ac:spMkLst>
            <pc:docMk/>
            <pc:sldMk cId="2535490523" sldId="290"/>
            <ac:spMk id="9" creationId="{278FDF45-CCEB-48EB-A004-1B3955AB0078}"/>
          </ac:spMkLst>
        </pc:spChg>
        <pc:spChg chg="add">
          <ac:chgData name="Anchal  Bhamore" userId="S::2790260@vikes.csuohio.edu::3c0ae9e2-a394-4d39-948f-41c65fba8a73" providerId="AD" clId="Web-{8D39CC4C-7613-5AB4-6B69-68D6BD138F4D}" dt="2020-11-30T23:06:52.115" v="949"/>
          <ac:spMkLst>
            <pc:docMk/>
            <pc:sldMk cId="2535490523" sldId="290"/>
            <ac:spMk id="11" creationId="{7D103605-25F8-45C3-9822-6E904EF237B8}"/>
          </ac:spMkLst>
        </pc:spChg>
        <pc:spChg chg="add">
          <ac:chgData name="Anchal  Bhamore" userId="S::2790260@vikes.csuohio.edu::3c0ae9e2-a394-4d39-948f-41c65fba8a73" providerId="AD" clId="Web-{8D39CC4C-7613-5AB4-6B69-68D6BD138F4D}" dt="2020-11-30T23:06:52.115" v="949"/>
          <ac:spMkLst>
            <pc:docMk/>
            <pc:sldMk cId="2535490523" sldId="290"/>
            <ac:spMk id="12" creationId="{6AD021AC-B17F-4179-9A4D-5D6DC0C12071}"/>
          </ac:spMkLst>
        </pc:spChg>
        <pc:spChg chg="add">
          <ac:chgData name="Anchal  Bhamore" userId="S::2790260@vikes.csuohio.edu::3c0ae9e2-a394-4d39-948f-41c65fba8a73" providerId="AD" clId="Web-{8D39CC4C-7613-5AB4-6B69-68D6BD138F4D}" dt="2020-11-30T23:06:52.115" v="949"/>
          <ac:spMkLst>
            <pc:docMk/>
            <pc:sldMk cId="2535490523" sldId="290"/>
            <ac:spMk id="13" creationId="{C6E17EDC-B971-4680-8C43-5745B486C2A2}"/>
          </ac:spMkLst>
        </pc:spChg>
        <pc:spChg chg="add">
          <ac:chgData name="Anchal  Bhamore" userId="S::2790260@vikes.csuohio.edu::3c0ae9e2-a394-4d39-948f-41c65fba8a73" providerId="AD" clId="Web-{8D39CC4C-7613-5AB4-6B69-68D6BD138F4D}" dt="2020-11-30T23:06:52.115" v="949"/>
          <ac:spMkLst>
            <pc:docMk/>
            <pc:sldMk cId="2535490523" sldId="290"/>
            <ac:spMk id="14" creationId="{0B28190D-A9C0-4AC8-870D-A52EC38CC1FE}"/>
          </ac:spMkLst>
        </pc:spChg>
        <pc:graphicFrameChg chg="del mod modGraphic">
          <ac:chgData name="Anchal  Bhamore" userId="S::2790260@vikes.csuohio.edu::3c0ae9e2-a394-4d39-948f-41c65fba8a73" providerId="AD" clId="Web-{8D39CC4C-7613-5AB4-6B69-68D6BD138F4D}" dt="2020-11-30T23:06:25.926" v="935"/>
          <ac:graphicFrameMkLst>
            <pc:docMk/>
            <pc:sldMk cId="2535490523" sldId="290"/>
            <ac:graphicFrameMk id="7" creationId="{DD3369CA-EC43-49CC-B44A-AC6C39C6C088}"/>
          </ac:graphicFrameMkLst>
        </pc:graphicFrameChg>
        <pc:cxnChg chg="add">
          <ac:chgData name="Anchal  Bhamore" userId="S::2790260@vikes.csuohio.edu::3c0ae9e2-a394-4d39-948f-41c65fba8a73" providerId="AD" clId="Web-{8D39CC4C-7613-5AB4-6B69-68D6BD138F4D}" dt="2020-11-30T23:06:52.115" v="949"/>
          <ac:cxnSpMkLst>
            <pc:docMk/>
            <pc:sldMk cId="2535490523" sldId="290"/>
            <ac:cxnSpMk id="10" creationId="{2C5A298F-A770-4302-9035-4F7198CD0A34}"/>
          </ac:cxnSpMkLst>
        </pc:cxnChg>
      </pc:sldChg>
      <pc:sldChg chg="addSp delSp modSp new del">
        <pc:chgData name="Anchal  Bhamore" userId="S::2790260@vikes.csuohio.edu::3c0ae9e2-a394-4d39-948f-41c65fba8a73" providerId="AD" clId="Web-{8D39CC4C-7613-5AB4-6B69-68D6BD138F4D}" dt="2020-11-30T23:12:17.135" v="988"/>
        <pc:sldMkLst>
          <pc:docMk/>
          <pc:sldMk cId="1154063733" sldId="291"/>
        </pc:sldMkLst>
        <pc:spChg chg="del">
          <ac:chgData name="Anchal  Bhamore" userId="S::2790260@vikes.csuohio.edu::3c0ae9e2-a394-4d39-948f-41c65fba8a73" providerId="AD" clId="Web-{8D39CC4C-7613-5AB4-6B69-68D6BD138F4D}" dt="2020-11-30T23:11:46.023" v="982"/>
          <ac:spMkLst>
            <pc:docMk/>
            <pc:sldMk cId="1154063733" sldId="291"/>
            <ac:spMk id="2" creationId="{6F4F2638-FCCC-42C2-A100-CF69DD9155CC}"/>
          </ac:spMkLst>
        </pc:spChg>
        <pc:spChg chg="del">
          <ac:chgData name="Anchal  Bhamore" userId="S::2790260@vikes.csuohio.edu::3c0ae9e2-a394-4d39-948f-41c65fba8a73" providerId="AD" clId="Web-{8D39CC4C-7613-5AB4-6B69-68D6BD138F4D}" dt="2020-11-30T23:11:48.508" v="983"/>
          <ac:spMkLst>
            <pc:docMk/>
            <pc:sldMk cId="1154063733" sldId="291"/>
            <ac:spMk id="3" creationId="{EF8DE813-4D66-4D61-B190-7B3446B27D59}"/>
          </ac:spMkLst>
        </pc:spChg>
        <pc:spChg chg="add del mod">
          <ac:chgData name="Anchal  Bhamore" userId="S::2790260@vikes.csuohio.edu::3c0ae9e2-a394-4d39-948f-41c65fba8a73" providerId="AD" clId="Web-{8D39CC4C-7613-5AB4-6B69-68D6BD138F4D}" dt="2020-11-30T23:11:54.102" v="986"/>
          <ac:spMkLst>
            <pc:docMk/>
            <pc:sldMk cId="1154063733" sldId="291"/>
            <ac:spMk id="4" creationId="{9AB2D290-076E-4645-9AEE-D2DC8B2AA3E6}"/>
          </ac:spMkLst>
        </pc:spChg>
      </pc:sldChg>
      <pc:sldChg chg="addSp delSp modSp add replId">
        <pc:chgData name="Anchal  Bhamore" userId="S::2790260@vikes.csuohio.edu::3c0ae9e2-a394-4d39-948f-41c65fba8a73" providerId="AD" clId="Web-{8D39CC4C-7613-5AB4-6B69-68D6BD138F4D}" dt="2020-11-30T23:21:03.807" v="1143"/>
        <pc:sldMkLst>
          <pc:docMk/>
          <pc:sldMk cId="1663187448" sldId="292"/>
        </pc:sldMkLst>
        <pc:spChg chg="mod">
          <ac:chgData name="Anchal  Bhamore" userId="S::2790260@vikes.csuohio.edu::3c0ae9e2-a394-4d39-948f-41c65fba8a73" providerId="AD" clId="Web-{8D39CC4C-7613-5AB4-6B69-68D6BD138F4D}" dt="2020-11-30T23:21:03.807" v="1143"/>
          <ac:spMkLst>
            <pc:docMk/>
            <pc:sldMk cId="1663187448" sldId="292"/>
            <ac:spMk id="2" creationId="{EB716928-8AC8-4E6C-A9C4-E7C3C37744F4}"/>
          </ac:spMkLst>
        </pc:spChg>
        <pc:spChg chg="add mod">
          <ac:chgData name="Anchal  Bhamore" userId="S::2790260@vikes.csuohio.edu::3c0ae9e2-a394-4d39-948f-41c65fba8a73" providerId="AD" clId="Web-{8D39CC4C-7613-5AB4-6B69-68D6BD138F4D}" dt="2020-11-30T23:19:59.178" v="1133"/>
          <ac:spMkLst>
            <pc:docMk/>
            <pc:sldMk cId="1663187448" sldId="292"/>
            <ac:spMk id="8" creationId="{F768D4EE-6859-473E-9A2E-4801ECAAE6F6}"/>
          </ac:spMkLst>
        </pc:spChg>
        <pc:spChg chg="add mod">
          <ac:chgData name="Anchal  Bhamore" userId="S::2790260@vikes.csuohio.edu::3c0ae9e2-a394-4d39-948f-41c65fba8a73" providerId="AD" clId="Web-{8D39CC4C-7613-5AB4-6B69-68D6BD138F4D}" dt="2020-11-30T23:19:59.085" v="1132"/>
          <ac:spMkLst>
            <pc:docMk/>
            <pc:sldMk cId="1663187448" sldId="292"/>
            <ac:spMk id="9" creationId="{2B99ECC4-BBD8-403F-B2DF-95E4C36332A5}"/>
          </ac:spMkLst>
        </pc:spChg>
        <pc:spChg chg="add mod">
          <ac:chgData name="Anchal  Bhamore" userId="S::2790260@vikes.csuohio.edu::3c0ae9e2-a394-4d39-948f-41c65fba8a73" providerId="AD" clId="Web-{8D39CC4C-7613-5AB4-6B69-68D6BD138F4D}" dt="2020-11-30T23:19:59.007" v="1131"/>
          <ac:spMkLst>
            <pc:docMk/>
            <pc:sldMk cId="1663187448" sldId="292"/>
            <ac:spMk id="10" creationId="{AEE5A155-942D-447B-8959-C89054653827}"/>
          </ac:spMkLst>
        </pc:spChg>
        <pc:spChg chg="add mod">
          <ac:chgData name="Anchal  Bhamore" userId="S::2790260@vikes.csuohio.edu::3c0ae9e2-a394-4d39-948f-41c65fba8a73" providerId="AD" clId="Web-{8D39CC4C-7613-5AB4-6B69-68D6BD138F4D}" dt="2020-11-30T23:19:58.944" v="1130"/>
          <ac:spMkLst>
            <pc:docMk/>
            <pc:sldMk cId="1663187448" sldId="292"/>
            <ac:spMk id="11" creationId="{53656BA9-C099-4DBD-B376-8A9388436F7B}"/>
          </ac:spMkLst>
        </pc:spChg>
        <pc:spChg chg="add mod">
          <ac:chgData name="Anchal  Bhamore" userId="S::2790260@vikes.csuohio.edu::3c0ae9e2-a394-4d39-948f-41c65fba8a73" providerId="AD" clId="Web-{8D39CC4C-7613-5AB4-6B69-68D6BD138F4D}" dt="2020-11-30T23:19:58.444" v="1123"/>
          <ac:spMkLst>
            <pc:docMk/>
            <pc:sldMk cId="1663187448" sldId="292"/>
            <ac:spMk id="15" creationId="{FBE5F202-98B3-42BF-9AE6-7AE596DDED5B}"/>
          </ac:spMkLst>
        </pc:spChg>
        <pc:spChg chg="add mod">
          <ac:chgData name="Anchal  Bhamore" userId="S::2790260@vikes.csuohio.edu::3c0ae9e2-a394-4d39-948f-41c65fba8a73" providerId="AD" clId="Web-{8D39CC4C-7613-5AB4-6B69-68D6BD138F4D}" dt="2020-11-30T23:19:58.382" v="1122"/>
          <ac:spMkLst>
            <pc:docMk/>
            <pc:sldMk cId="1663187448" sldId="292"/>
            <ac:spMk id="16" creationId="{8D17A431-982A-490B-A63D-FA4CCC2D17CD}"/>
          </ac:spMkLst>
        </pc:spChg>
        <pc:spChg chg="add mod">
          <ac:chgData name="Anchal  Bhamore" userId="S::2790260@vikes.csuohio.edu::3c0ae9e2-a394-4d39-948f-41c65fba8a73" providerId="AD" clId="Web-{8D39CC4C-7613-5AB4-6B69-68D6BD138F4D}" dt="2020-11-30T23:19:58.319" v="1121"/>
          <ac:spMkLst>
            <pc:docMk/>
            <pc:sldMk cId="1663187448" sldId="292"/>
            <ac:spMk id="17" creationId="{656973A2-EEA3-44F8-B299-0BCAEA6D4F58}"/>
          </ac:spMkLst>
        </pc:spChg>
        <pc:spChg chg="add mod">
          <ac:chgData name="Anchal  Bhamore" userId="S::2790260@vikes.csuohio.edu::3c0ae9e2-a394-4d39-948f-41c65fba8a73" providerId="AD" clId="Web-{8D39CC4C-7613-5AB4-6B69-68D6BD138F4D}" dt="2020-11-30T23:19:58.241" v="1120"/>
          <ac:spMkLst>
            <pc:docMk/>
            <pc:sldMk cId="1663187448" sldId="292"/>
            <ac:spMk id="18" creationId="{5EAFB1D3-C502-44E4-A415-6D73CFEAB4D6}"/>
          </ac:spMkLst>
        </pc:spChg>
        <pc:spChg chg="add mod">
          <ac:chgData name="Anchal  Bhamore" userId="S::2790260@vikes.csuohio.edu::3c0ae9e2-a394-4d39-948f-41c65fba8a73" providerId="AD" clId="Web-{8D39CC4C-7613-5AB4-6B69-68D6BD138F4D}" dt="2020-11-30T23:19:58.163" v="1119"/>
          <ac:spMkLst>
            <pc:docMk/>
            <pc:sldMk cId="1663187448" sldId="292"/>
            <ac:spMk id="19" creationId="{2D59025E-726D-462A-9073-993F761063A2}"/>
          </ac:spMkLst>
        </pc:spChg>
        <pc:spChg chg="add mod">
          <ac:chgData name="Anchal  Bhamore" userId="S::2790260@vikes.csuohio.edu::3c0ae9e2-a394-4d39-948f-41c65fba8a73" providerId="AD" clId="Web-{8D39CC4C-7613-5AB4-6B69-68D6BD138F4D}" dt="2020-11-30T23:19:58.100" v="1118"/>
          <ac:spMkLst>
            <pc:docMk/>
            <pc:sldMk cId="1663187448" sldId="292"/>
            <ac:spMk id="20" creationId="{6EBC289F-7D67-473E-BB9B-CA0529D677B7}"/>
          </ac:spMkLst>
        </pc:spChg>
        <pc:spChg chg="add mod">
          <ac:chgData name="Anchal  Bhamore" userId="S::2790260@vikes.csuohio.edu::3c0ae9e2-a394-4d39-948f-41c65fba8a73" providerId="AD" clId="Web-{8D39CC4C-7613-5AB4-6B69-68D6BD138F4D}" dt="2020-11-30T23:19:58.022" v="1117"/>
          <ac:spMkLst>
            <pc:docMk/>
            <pc:sldMk cId="1663187448" sldId="292"/>
            <ac:spMk id="21" creationId="{84ABB73B-A288-49F7-A5F1-6E320C528AA9}"/>
          </ac:spMkLst>
        </pc:spChg>
        <pc:spChg chg="add mod">
          <ac:chgData name="Anchal  Bhamore" userId="S::2790260@vikes.csuohio.edu::3c0ae9e2-a394-4d39-948f-41c65fba8a73" providerId="AD" clId="Web-{8D39CC4C-7613-5AB4-6B69-68D6BD138F4D}" dt="2020-11-30T23:19:57.944" v="1116"/>
          <ac:spMkLst>
            <pc:docMk/>
            <pc:sldMk cId="1663187448" sldId="292"/>
            <ac:spMk id="22" creationId="{D4D9162D-C84C-41F9-807A-132EF1AA0469}"/>
          </ac:spMkLst>
        </pc:spChg>
        <pc:spChg chg="add mod">
          <ac:chgData name="Anchal  Bhamore" userId="S::2790260@vikes.csuohio.edu::3c0ae9e2-a394-4d39-948f-41c65fba8a73" providerId="AD" clId="Web-{8D39CC4C-7613-5AB4-6B69-68D6BD138F4D}" dt="2020-11-30T23:19:57.882" v="1115"/>
          <ac:spMkLst>
            <pc:docMk/>
            <pc:sldMk cId="1663187448" sldId="292"/>
            <ac:spMk id="23" creationId="{F6A1967A-321B-49FC-8D3F-434CE5C2C084}"/>
          </ac:spMkLst>
        </pc:spChg>
        <pc:spChg chg="add mod">
          <ac:chgData name="Anchal  Bhamore" userId="S::2790260@vikes.csuohio.edu::3c0ae9e2-a394-4d39-948f-41c65fba8a73" providerId="AD" clId="Web-{8D39CC4C-7613-5AB4-6B69-68D6BD138F4D}" dt="2020-11-30T23:19:57.803" v="1114"/>
          <ac:spMkLst>
            <pc:docMk/>
            <pc:sldMk cId="1663187448" sldId="292"/>
            <ac:spMk id="24" creationId="{26496FBE-51B1-47B3-A610-6F8CD4770D09}"/>
          </ac:spMkLst>
        </pc:spChg>
        <pc:spChg chg="add mod">
          <ac:chgData name="Anchal  Bhamore" userId="S::2790260@vikes.csuohio.edu::3c0ae9e2-a394-4d39-948f-41c65fba8a73" providerId="AD" clId="Web-{8D39CC4C-7613-5AB4-6B69-68D6BD138F4D}" dt="2020-11-30T23:19:58.600" v="1125"/>
          <ac:spMkLst>
            <pc:docMk/>
            <pc:sldMk cId="1663187448" sldId="292"/>
            <ac:spMk id="25" creationId="{A2279784-F206-458D-9CC8-B35BBBA000E6}"/>
          </ac:spMkLst>
        </pc:spChg>
        <pc:spChg chg="add mod">
          <ac:chgData name="Anchal  Bhamore" userId="S::2790260@vikes.csuohio.edu::3c0ae9e2-a394-4d39-948f-41c65fba8a73" providerId="AD" clId="Web-{8D39CC4C-7613-5AB4-6B69-68D6BD138F4D}" dt="2020-11-30T23:19:58.522" v="1124"/>
          <ac:spMkLst>
            <pc:docMk/>
            <pc:sldMk cId="1663187448" sldId="292"/>
            <ac:spMk id="26" creationId="{8ACD7B83-3267-45C0-820B-FB42CD7F517A}"/>
          </ac:spMkLst>
        </pc:spChg>
        <pc:spChg chg="add mod">
          <ac:chgData name="Anchal  Bhamore" userId="S::2790260@vikes.csuohio.edu::3c0ae9e2-a394-4d39-948f-41c65fba8a73" providerId="AD" clId="Web-{8D39CC4C-7613-5AB4-6B69-68D6BD138F4D}" dt="2020-11-30T23:19:58.741" v="1127"/>
          <ac:spMkLst>
            <pc:docMk/>
            <pc:sldMk cId="1663187448" sldId="292"/>
            <ac:spMk id="27" creationId="{17229C0C-231F-4BF5-9347-5013ED98F836}"/>
          </ac:spMkLst>
        </pc:spChg>
        <pc:spChg chg="add mod">
          <ac:chgData name="Anchal  Bhamore" userId="S::2790260@vikes.csuohio.edu::3c0ae9e2-a394-4d39-948f-41c65fba8a73" providerId="AD" clId="Web-{8D39CC4C-7613-5AB4-6B69-68D6BD138F4D}" dt="2020-11-30T23:19:58.663" v="1126"/>
          <ac:spMkLst>
            <pc:docMk/>
            <pc:sldMk cId="1663187448" sldId="292"/>
            <ac:spMk id="28" creationId="{D20CC307-0BBB-4881-923F-074420BAF5E2}"/>
          </ac:spMkLst>
        </pc:spChg>
        <pc:spChg chg="add mod">
          <ac:chgData name="Anchal  Bhamore" userId="S::2790260@vikes.csuohio.edu::3c0ae9e2-a394-4d39-948f-41c65fba8a73" providerId="AD" clId="Web-{8D39CC4C-7613-5AB4-6B69-68D6BD138F4D}" dt="2020-11-30T23:19:58.866" v="1129"/>
          <ac:spMkLst>
            <pc:docMk/>
            <pc:sldMk cId="1663187448" sldId="292"/>
            <ac:spMk id="29" creationId="{0FE4E702-E19A-4B76-9DDC-E2B8EE245C15}"/>
          </ac:spMkLst>
        </pc:spChg>
        <pc:spChg chg="add mod">
          <ac:chgData name="Anchal  Bhamore" userId="S::2790260@vikes.csuohio.edu::3c0ae9e2-a394-4d39-948f-41c65fba8a73" providerId="AD" clId="Web-{8D39CC4C-7613-5AB4-6B69-68D6BD138F4D}" dt="2020-11-30T23:19:58.803" v="1128"/>
          <ac:spMkLst>
            <pc:docMk/>
            <pc:sldMk cId="1663187448" sldId="292"/>
            <ac:spMk id="30" creationId="{5DD07601-5590-4845-9A06-CC28918DDB6F}"/>
          </ac:spMkLst>
        </pc:spChg>
        <pc:spChg chg="del mod">
          <ac:chgData name="Anchal  Bhamore" userId="S::2790260@vikes.csuohio.edu::3c0ae9e2-a394-4d39-948f-41c65fba8a73" providerId="AD" clId="Web-{8D39CC4C-7613-5AB4-6B69-68D6BD138F4D}" dt="2020-11-30T23:18:05.468" v="1033"/>
          <ac:spMkLst>
            <pc:docMk/>
            <pc:sldMk cId="1663187448" sldId="292"/>
            <ac:spMk id="32" creationId="{8EDF4E37-93A6-4974-B5CB-315E2D2BD2B5}"/>
          </ac:spMkLst>
        </pc:spChg>
        <pc:spChg chg="add mod">
          <ac:chgData name="Anchal  Bhamore" userId="S::2790260@vikes.csuohio.edu::3c0ae9e2-a394-4d39-948f-41c65fba8a73" providerId="AD" clId="Web-{8D39CC4C-7613-5AB4-6B69-68D6BD138F4D}" dt="2020-11-30T23:19:59.397" v="1137"/>
          <ac:spMkLst>
            <pc:docMk/>
            <pc:sldMk cId="1663187448" sldId="292"/>
            <ac:spMk id="33" creationId="{76E3424D-2C38-4A21-B0FC-E8EE954CDF1C}"/>
          </ac:spMkLst>
        </pc:spChg>
        <pc:spChg chg="add mod">
          <ac:chgData name="Anchal  Bhamore" userId="S::2790260@vikes.csuohio.edu::3c0ae9e2-a394-4d39-948f-41c65fba8a73" providerId="AD" clId="Web-{8D39CC4C-7613-5AB4-6B69-68D6BD138F4D}" dt="2020-11-30T23:19:59.350" v="1136"/>
          <ac:spMkLst>
            <pc:docMk/>
            <pc:sldMk cId="1663187448" sldId="292"/>
            <ac:spMk id="34" creationId="{A6D76CB7-E1AB-4679-96ED-8256494F6D85}"/>
          </ac:spMkLst>
        </pc:spChg>
        <pc:spChg chg="add mod">
          <ac:chgData name="Anchal  Bhamore" userId="S::2790260@vikes.csuohio.edu::3c0ae9e2-a394-4d39-948f-41c65fba8a73" providerId="AD" clId="Web-{8D39CC4C-7613-5AB4-6B69-68D6BD138F4D}" dt="2020-11-30T23:19:59.319" v="1135"/>
          <ac:spMkLst>
            <pc:docMk/>
            <pc:sldMk cId="1663187448" sldId="292"/>
            <ac:spMk id="35" creationId="{28F24681-2FC8-49D7-B7DC-B344A56A41CF}"/>
          </ac:spMkLst>
        </pc:spChg>
        <pc:spChg chg="add mod">
          <ac:chgData name="Anchal  Bhamore" userId="S::2790260@vikes.csuohio.edu::3c0ae9e2-a394-4d39-948f-41c65fba8a73" providerId="AD" clId="Web-{8D39CC4C-7613-5AB4-6B69-68D6BD138F4D}" dt="2020-11-30T23:19:59.288" v="1134"/>
          <ac:spMkLst>
            <pc:docMk/>
            <pc:sldMk cId="1663187448" sldId="292"/>
            <ac:spMk id="36" creationId="{C997E094-08B2-470B-8D5F-8D9ED3C1C5A2}"/>
          </ac:spMkLst>
        </pc:spChg>
        <pc:spChg chg="mod">
          <ac:chgData name="Anchal  Bhamore" userId="S::2790260@vikes.csuohio.edu::3c0ae9e2-a394-4d39-948f-41c65fba8a73" providerId="AD" clId="Web-{8D39CC4C-7613-5AB4-6B69-68D6BD138F4D}" dt="2020-11-30T23:19:59.444" v="1139"/>
          <ac:spMkLst>
            <pc:docMk/>
            <pc:sldMk cId="1663187448" sldId="292"/>
            <ac:spMk id="37" creationId="{A4AC5506-6312-4701-8D3C-40187889A947}"/>
          </ac:spMkLst>
        </pc:spChg>
        <pc:grpChg chg="add mod">
          <ac:chgData name="Anchal  Bhamore" userId="S::2790260@vikes.csuohio.edu::3c0ae9e2-a394-4d39-948f-41c65fba8a73" providerId="AD" clId="Web-{8D39CC4C-7613-5AB4-6B69-68D6BD138F4D}" dt="2020-11-30T23:20:35.368" v="1141" actId="1076"/>
          <ac:grpSpMkLst>
            <pc:docMk/>
            <pc:sldMk cId="1663187448" sldId="292"/>
            <ac:grpSpMk id="6" creationId="{25228140-6CE9-4182-B36F-DEA361C6AFA5}"/>
          </ac:grpSpMkLst>
        </pc:grpChg>
        <pc:grpChg chg="add mod">
          <ac:chgData name="Anchal  Bhamore" userId="S::2790260@vikes.csuohio.edu::3c0ae9e2-a394-4d39-948f-41c65fba8a73" providerId="AD" clId="Web-{8D39CC4C-7613-5AB4-6B69-68D6BD138F4D}" dt="2020-11-30T23:20:12.976" v="1140" actId="1076"/>
          <ac:grpSpMkLst>
            <pc:docMk/>
            <pc:sldMk cId="1663187448" sldId="292"/>
            <ac:grpSpMk id="7" creationId="{647BE741-BA63-4A50-BAD0-68417343154A}"/>
          </ac:grpSpMkLst>
        </pc:grpChg>
        <pc:grpChg chg="add">
          <ac:chgData name="Anchal  Bhamore" userId="S::2790260@vikes.csuohio.edu::3c0ae9e2-a394-4d39-948f-41c65fba8a73" providerId="AD" clId="Web-{8D39CC4C-7613-5AB4-6B69-68D6BD138F4D}" dt="2020-11-30T23:15:35.475" v="1002"/>
          <ac:grpSpMkLst>
            <pc:docMk/>
            <pc:sldMk cId="1663187448" sldId="292"/>
            <ac:grpSpMk id="12" creationId="{3A72F57B-B3D4-4211-8E8C-32B29374C391}"/>
          </ac:grpSpMkLst>
        </pc:grpChg>
        <pc:grpChg chg="add">
          <ac:chgData name="Anchal  Bhamore" userId="S::2790260@vikes.csuohio.edu::3c0ae9e2-a394-4d39-948f-41c65fba8a73" providerId="AD" clId="Web-{8D39CC4C-7613-5AB4-6B69-68D6BD138F4D}" dt="2020-11-30T23:15:35.475" v="1002"/>
          <ac:grpSpMkLst>
            <pc:docMk/>
            <pc:sldMk cId="1663187448" sldId="292"/>
            <ac:grpSpMk id="13" creationId="{9ECCCE5B-43C4-4588-8EDB-3EA3E9C12C69}"/>
          </ac:grpSpMkLst>
        </pc:grpChg>
        <pc:grpChg chg="add">
          <ac:chgData name="Anchal  Bhamore" userId="S::2790260@vikes.csuohio.edu::3c0ae9e2-a394-4d39-948f-41c65fba8a73" providerId="AD" clId="Web-{8D39CC4C-7613-5AB4-6B69-68D6BD138F4D}" dt="2020-11-30T23:15:35.475" v="1002"/>
          <ac:grpSpMkLst>
            <pc:docMk/>
            <pc:sldMk cId="1663187448" sldId="292"/>
            <ac:grpSpMk id="14" creationId="{2D59FCC8-A77A-41E7-89F3-414A7DC75116}"/>
          </ac:grpSpMkLst>
        </pc:grpChg>
        <pc:graphicFrameChg chg="del mod modGraphic">
          <ac:chgData name="Anchal  Bhamore" userId="S::2790260@vikes.csuohio.edu::3c0ae9e2-a394-4d39-948f-41c65fba8a73" providerId="AD" clId="Web-{8D39CC4C-7613-5AB4-6B69-68D6BD138F4D}" dt="2020-11-30T23:14:40.581" v="991"/>
          <ac:graphicFrameMkLst>
            <pc:docMk/>
            <pc:sldMk cId="1663187448" sldId="292"/>
            <ac:graphicFrameMk id="31" creationId="{0D2E707B-1F62-433A-B6A1-86B2901D85C6}"/>
          </ac:graphicFrameMkLst>
        </pc:graphicFrameChg>
      </pc:sldChg>
    </pc:docChg>
  </pc:docChgLst>
  <pc:docChgLst>
    <pc:chgData name="Mrunali Pramodbhai  Patel" userId="S::2783799@vikes.csuohio.edu::1e130dba-178f-4916-8c03-fef66396cb5a" providerId="AD" clId="Web-{79A12D5C-E0D6-87E5-C074-E348ECB53F81}"/>
    <pc:docChg chg="modSld">
      <pc:chgData name="Mrunali Pramodbhai  Patel" userId="S::2783799@vikes.csuohio.edu::1e130dba-178f-4916-8c03-fef66396cb5a" providerId="AD" clId="Web-{79A12D5C-E0D6-87E5-C074-E348ECB53F81}" dt="2020-12-01T01:06:08.475" v="2362"/>
      <pc:docMkLst>
        <pc:docMk/>
      </pc:docMkLst>
      <pc:sldChg chg="modSp">
        <pc:chgData name="Mrunali Pramodbhai  Patel" userId="S::2783799@vikes.csuohio.edu::1e130dba-178f-4916-8c03-fef66396cb5a" providerId="AD" clId="Web-{79A12D5C-E0D6-87E5-C074-E348ECB53F81}" dt="2020-11-30T23:49:35.505" v="398" actId="14100"/>
        <pc:sldMkLst>
          <pc:docMk/>
          <pc:sldMk cId="4069752862" sldId="256"/>
        </pc:sldMkLst>
        <pc:spChg chg="mod">
          <ac:chgData name="Mrunali Pramodbhai  Patel" userId="S::2783799@vikes.csuohio.edu::1e130dba-178f-4916-8c03-fef66396cb5a" providerId="AD" clId="Web-{79A12D5C-E0D6-87E5-C074-E348ECB53F81}" dt="2020-11-30T23:49:35.505" v="398" actId="14100"/>
          <ac:spMkLst>
            <pc:docMk/>
            <pc:sldMk cId="4069752862" sldId="256"/>
            <ac:spMk id="2" creationId="{CB8A7F61-6CA5-4F59-9E34-BA37514CB361}"/>
          </ac:spMkLst>
        </pc:spChg>
        <pc:spChg chg="mod">
          <ac:chgData name="Mrunali Pramodbhai  Patel" userId="S::2783799@vikes.csuohio.edu::1e130dba-178f-4916-8c03-fef66396cb5a" providerId="AD" clId="Web-{79A12D5C-E0D6-87E5-C074-E348ECB53F81}" dt="2020-11-30T23:45:07.511" v="181" actId="20577"/>
          <ac:spMkLst>
            <pc:docMk/>
            <pc:sldMk cId="4069752862" sldId="256"/>
            <ac:spMk id="3" creationId="{0520F9D1-DA88-4699-B135-6BD0FA6AFE26}"/>
          </ac:spMkLst>
        </pc:spChg>
        <pc:picChg chg="mod">
          <ac:chgData name="Mrunali Pramodbhai  Patel" userId="S::2783799@vikes.csuohio.edu::1e130dba-178f-4916-8c03-fef66396cb5a" providerId="AD" clId="Web-{79A12D5C-E0D6-87E5-C074-E348ECB53F81}" dt="2020-11-30T21:46:31.333" v="5" actId="14100"/>
          <ac:picMkLst>
            <pc:docMk/>
            <pc:sldMk cId="4069752862" sldId="256"/>
            <ac:picMk id="18" creationId="{1127CC09-2AE3-4CA4-9C5D-D33643BE31B6}"/>
          </ac:picMkLst>
        </pc:picChg>
      </pc:sldChg>
      <pc:sldChg chg="modSp">
        <pc:chgData name="Mrunali Pramodbhai  Patel" userId="S::2783799@vikes.csuohio.edu::1e130dba-178f-4916-8c03-fef66396cb5a" providerId="AD" clId="Web-{79A12D5C-E0D6-87E5-C074-E348ECB53F81}" dt="2020-11-30T23:47:54.360" v="253" actId="20577"/>
        <pc:sldMkLst>
          <pc:docMk/>
          <pc:sldMk cId="242645325" sldId="257"/>
        </pc:sldMkLst>
        <pc:spChg chg="mod">
          <ac:chgData name="Mrunali Pramodbhai  Patel" userId="S::2783799@vikes.csuohio.edu::1e130dba-178f-4916-8c03-fef66396cb5a" providerId="AD" clId="Web-{79A12D5C-E0D6-87E5-C074-E348ECB53F81}" dt="2020-11-30T23:47:54.360" v="253" actId="20577"/>
          <ac:spMkLst>
            <pc:docMk/>
            <pc:sldMk cId="242645325" sldId="257"/>
            <ac:spMk id="2" creationId="{F4EC5811-F0F7-4172-8437-6EE4938BCAA9}"/>
          </ac:spMkLst>
        </pc:spChg>
        <pc:spChg chg="mod">
          <ac:chgData name="Mrunali Pramodbhai  Patel" userId="S::2783799@vikes.csuohio.edu::1e130dba-178f-4916-8c03-fef66396cb5a" providerId="AD" clId="Web-{79A12D5C-E0D6-87E5-C074-E348ECB53F81}" dt="2020-11-30T23:46:01.435" v="192" actId="1076"/>
          <ac:spMkLst>
            <pc:docMk/>
            <pc:sldMk cId="242645325" sldId="257"/>
            <ac:spMk id="3" creationId="{E670E1F4-B15C-456D-8257-CFE3BD3A3848}"/>
          </ac:spMkLst>
        </pc:spChg>
        <pc:picChg chg="mod">
          <ac:chgData name="Mrunali Pramodbhai  Patel" userId="S::2783799@vikes.csuohio.edu::1e130dba-178f-4916-8c03-fef66396cb5a" providerId="AD" clId="Web-{79A12D5C-E0D6-87E5-C074-E348ECB53F81}" dt="2020-11-30T23:45:43.043" v="190" actId="14100"/>
          <ac:picMkLst>
            <pc:docMk/>
            <pc:sldMk cId="242645325" sldId="257"/>
            <ac:picMk id="15" creationId="{67449240-51FA-4048-A532-58D8E10A2D80}"/>
          </ac:picMkLst>
        </pc:picChg>
      </pc:sldChg>
      <pc:sldChg chg="modSp">
        <pc:chgData name="Mrunali Pramodbhai  Patel" userId="S::2783799@vikes.csuohio.edu::1e130dba-178f-4916-8c03-fef66396cb5a" providerId="AD" clId="Web-{79A12D5C-E0D6-87E5-C074-E348ECB53F81}" dt="2020-11-30T23:46:34.264" v="194" actId="20577"/>
        <pc:sldMkLst>
          <pc:docMk/>
          <pc:sldMk cId="1235507600" sldId="258"/>
        </pc:sldMkLst>
        <pc:spChg chg="mod">
          <ac:chgData name="Mrunali Pramodbhai  Patel" userId="S::2783799@vikes.csuohio.edu::1e130dba-178f-4916-8c03-fef66396cb5a" providerId="AD" clId="Web-{79A12D5C-E0D6-87E5-C074-E348ECB53F81}" dt="2020-11-30T23:41:02.580" v="136" actId="14100"/>
          <ac:spMkLst>
            <pc:docMk/>
            <pc:sldMk cId="1235507600" sldId="258"/>
            <ac:spMk id="2" creationId="{21F35B99-1ADB-406D-9982-207599C4059F}"/>
          </ac:spMkLst>
        </pc:spChg>
        <pc:graphicFrameChg chg="mod modGraphic">
          <ac:chgData name="Mrunali Pramodbhai  Patel" userId="S::2783799@vikes.csuohio.edu::1e130dba-178f-4916-8c03-fef66396cb5a" providerId="AD" clId="Web-{79A12D5C-E0D6-87E5-C074-E348ECB53F81}" dt="2020-11-30T23:46:34.264" v="194" actId="20577"/>
          <ac:graphicFrameMkLst>
            <pc:docMk/>
            <pc:sldMk cId="1235507600" sldId="258"/>
            <ac:graphicFrameMk id="5" creationId="{3F0EF87E-2A33-45CA-A763-16D5C9076727}"/>
          </ac:graphicFrameMkLst>
        </pc:graphicFrameChg>
      </pc:sldChg>
      <pc:sldChg chg="modSp">
        <pc:chgData name="Mrunali Pramodbhai  Patel" userId="S::2783799@vikes.csuohio.edu::1e130dba-178f-4916-8c03-fef66396cb5a" providerId="AD" clId="Web-{79A12D5C-E0D6-87E5-C074-E348ECB53F81}" dt="2020-12-01T01:05:35.114" v="2359" actId="20577"/>
        <pc:sldMkLst>
          <pc:docMk/>
          <pc:sldMk cId="610735677" sldId="259"/>
        </pc:sldMkLst>
        <pc:spChg chg="mod">
          <ac:chgData name="Mrunali Pramodbhai  Patel" userId="S::2783799@vikes.csuohio.edu::1e130dba-178f-4916-8c03-fef66396cb5a" providerId="AD" clId="Web-{79A12D5C-E0D6-87E5-C074-E348ECB53F81}" dt="2020-11-30T23:43:37.976" v="163" actId="14100"/>
          <ac:spMkLst>
            <pc:docMk/>
            <pc:sldMk cId="610735677" sldId="259"/>
            <ac:spMk id="2" creationId="{7B56B445-DC82-47A0-A651-0245BC75F10F}"/>
          </ac:spMkLst>
        </pc:spChg>
        <pc:spChg chg="mod">
          <ac:chgData name="Mrunali Pramodbhai  Patel" userId="S::2783799@vikes.csuohio.edu::1e130dba-178f-4916-8c03-fef66396cb5a" providerId="AD" clId="Web-{79A12D5C-E0D6-87E5-C074-E348ECB53F81}" dt="2020-12-01T01:05:35.114" v="2359" actId="20577"/>
          <ac:spMkLst>
            <pc:docMk/>
            <pc:sldMk cId="610735677" sldId="259"/>
            <ac:spMk id="3" creationId="{1C6EE388-8A0D-422D-BDEC-9C19A0C23736}"/>
          </ac:spMkLst>
        </pc:spChg>
      </pc:sldChg>
      <pc:sldChg chg="addSp delSp modSp">
        <pc:chgData name="Mrunali Pramodbhai  Patel" userId="S::2783799@vikes.csuohio.edu::1e130dba-178f-4916-8c03-fef66396cb5a" providerId="AD" clId="Web-{79A12D5C-E0D6-87E5-C074-E348ECB53F81}" dt="2020-11-30T23:59:54.339" v="752" actId="20577"/>
        <pc:sldMkLst>
          <pc:docMk/>
          <pc:sldMk cId="1109106904" sldId="260"/>
        </pc:sldMkLst>
        <pc:spChg chg="mod">
          <ac:chgData name="Mrunali Pramodbhai  Patel" userId="S::2783799@vikes.csuohio.edu::1e130dba-178f-4916-8c03-fef66396cb5a" providerId="AD" clId="Web-{79A12D5C-E0D6-87E5-C074-E348ECB53F81}" dt="2020-11-30T23:59:54.339" v="752" actId="20577"/>
          <ac:spMkLst>
            <pc:docMk/>
            <pc:sldMk cId="1109106904" sldId="260"/>
            <ac:spMk id="2" creationId="{3D08FAFF-37F1-4FC0-97F8-B92BAC3DA71A}"/>
          </ac:spMkLst>
        </pc:spChg>
        <pc:spChg chg="del">
          <ac:chgData name="Mrunali Pramodbhai  Patel" userId="S::2783799@vikes.csuohio.edu::1e130dba-178f-4916-8c03-fef66396cb5a" providerId="AD" clId="Web-{79A12D5C-E0D6-87E5-C074-E348ECB53F81}" dt="2020-11-30T21:48:51.838" v="15"/>
          <ac:spMkLst>
            <pc:docMk/>
            <pc:sldMk cId="1109106904" sldId="260"/>
            <ac:spMk id="135" creationId="{20D5D19D-0789-4518-B5DC-D47ADF69D25A}"/>
          </ac:spMkLst>
        </pc:spChg>
        <pc:spChg chg="del">
          <ac:chgData name="Mrunali Pramodbhai  Patel" userId="S::2783799@vikes.csuohio.edu::1e130dba-178f-4916-8c03-fef66396cb5a" providerId="AD" clId="Web-{79A12D5C-E0D6-87E5-C074-E348ECB53F81}" dt="2020-11-30T21:48:51.838" v="15"/>
          <ac:spMkLst>
            <pc:docMk/>
            <pc:sldMk cId="1109106904" sldId="260"/>
            <ac:spMk id="142" creationId="{B81933D1-5615-42C7-9C0B-4EB7105CCE2D}"/>
          </ac:spMkLst>
        </pc:spChg>
        <pc:spChg chg="del">
          <ac:chgData name="Mrunali Pramodbhai  Patel" userId="S::2783799@vikes.csuohio.edu::1e130dba-178f-4916-8c03-fef66396cb5a" providerId="AD" clId="Web-{79A12D5C-E0D6-87E5-C074-E348ECB53F81}" dt="2020-11-30T21:48:51.838" v="15"/>
          <ac:spMkLst>
            <pc:docMk/>
            <pc:sldMk cId="1109106904" sldId="260"/>
            <ac:spMk id="144" creationId="{19C9EAEA-39D0-4B0E-A0EB-51E7B26740B1}"/>
          </ac:spMkLst>
        </pc:spChg>
        <pc:spChg chg="add">
          <ac:chgData name="Mrunali Pramodbhai  Patel" userId="S::2783799@vikes.csuohio.edu::1e130dba-178f-4916-8c03-fef66396cb5a" providerId="AD" clId="Web-{79A12D5C-E0D6-87E5-C074-E348ECB53F81}" dt="2020-11-30T21:48:51.838" v="15"/>
          <ac:spMkLst>
            <pc:docMk/>
            <pc:sldMk cId="1109106904" sldId="260"/>
            <ac:spMk id="192" creationId="{E45B1D5C-0827-4AF0-8186-11FC5A8B8B92}"/>
          </ac:spMkLst>
        </pc:spChg>
        <pc:spChg chg="add">
          <ac:chgData name="Mrunali Pramodbhai  Patel" userId="S::2783799@vikes.csuohio.edu::1e130dba-178f-4916-8c03-fef66396cb5a" providerId="AD" clId="Web-{79A12D5C-E0D6-87E5-C074-E348ECB53F81}" dt="2020-11-30T21:48:51.838" v="15"/>
          <ac:spMkLst>
            <pc:docMk/>
            <pc:sldMk cId="1109106904" sldId="260"/>
            <ac:spMk id="193" creationId="{99413ED5-9ED4-4772-BCE4-2BCAE6B12E35}"/>
          </ac:spMkLst>
        </pc:spChg>
        <pc:spChg chg="add">
          <ac:chgData name="Mrunali Pramodbhai  Patel" userId="S::2783799@vikes.csuohio.edu::1e130dba-178f-4916-8c03-fef66396cb5a" providerId="AD" clId="Web-{79A12D5C-E0D6-87E5-C074-E348ECB53F81}" dt="2020-11-30T21:48:51.838" v="15"/>
          <ac:spMkLst>
            <pc:docMk/>
            <pc:sldMk cId="1109106904" sldId="260"/>
            <ac:spMk id="194" creationId="{04357C93-F0CB-4A1C-8F77-4E9063789819}"/>
          </ac:spMkLst>
        </pc:spChg>
        <pc:spChg chg="add">
          <ac:chgData name="Mrunali Pramodbhai  Patel" userId="S::2783799@vikes.csuohio.edu::1e130dba-178f-4916-8c03-fef66396cb5a" providerId="AD" clId="Web-{79A12D5C-E0D6-87E5-C074-E348ECB53F81}" dt="2020-11-30T21:48:51.838" v="15"/>
          <ac:spMkLst>
            <pc:docMk/>
            <pc:sldMk cId="1109106904" sldId="260"/>
            <ac:spMk id="195" creationId="{90F533E9-6690-41A8-A372-4C6C622D028D}"/>
          </ac:spMkLst>
        </pc:spChg>
        <pc:grpChg chg="del">
          <ac:chgData name="Mrunali Pramodbhai  Patel" userId="S::2783799@vikes.csuohio.edu::1e130dba-178f-4916-8c03-fef66396cb5a" providerId="AD" clId="Web-{79A12D5C-E0D6-87E5-C074-E348ECB53F81}" dt="2020-11-30T21:48:51.838" v="15"/>
          <ac:grpSpMkLst>
            <pc:docMk/>
            <pc:sldMk cId="1109106904" sldId="260"/>
            <ac:grpSpMk id="137" creationId="{032D8612-31EB-44CF-A1D0-14FD4C705424}"/>
          </ac:grpSpMkLst>
        </pc:grpChg>
        <pc:picChg chg="mod">
          <ac:chgData name="Mrunali Pramodbhai  Patel" userId="S::2783799@vikes.csuohio.edu::1e130dba-178f-4916-8c03-fef66396cb5a" providerId="AD" clId="Web-{79A12D5C-E0D6-87E5-C074-E348ECB53F81}" dt="2020-11-30T21:48:51.838" v="15"/>
          <ac:picMkLst>
            <pc:docMk/>
            <pc:sldMk cId="1109106904" sldId="260"/>
            <ac:picMk id="3074" creationId="{83685410-514B-4BC0-832F-11A0A93F430F}"/>
          </ac:picMkLst>
        </pc:picChg>
      </pc:sldChg>
      <pc:sldChg chg="modSp">
        <pc:chgData name="Mrunali Pramodbhai  Patel" userId="S::2783799@vikes.csuohio.edu::1e130dba-178f-4916-8c03-fef66396cb5a" providerId="AD" clId="Web-{79A12D5C-E0D6-87E5-C074-E348ECB53F81}" dt="2020-11-30T23:47:43.688" v="234" actId="20577"/>
        <pc:sldMkLst>
          <pc:docMk/>
          <pc:sldMk cId="2266807988" sldId="261"/>
        </pc:sldMkLst>
        <pc:spChg chg="mod">
          <ac:chgData name="Mrunali Pramodbhai  Patel" userId="S::2783799@vikes.csuohio.edu::1e130dba-178f-4916-8c03-fef66396cb5a" providerId="AD" clId="Web-{79A12D5C-E0D6-87E5-C074-E348ECB53F81}" dt="2020-11-30T23:47:43.688" v="234" actId="20577"/>
          <ac:spMkLst>
            <pc:docMk/>
            <pc:sldMk cId="2266807988" sldId="261"/>
            <ac:spMk id="2" creationId="{63CEFC1D-695E-4CCE-B3F0-847390E14E19}"/>
          </ac:spMkLst>
        </pc:spChg>
        <pc:spChg chg="mod">
          <ac:chgData name="Mrunali Pramodbhai  Patel" userId="S::2783799@vikes.csuohio.edu::1e130dba-178f-4916-8c03-fef66396cb5a" providerId="AD" clId="Web-{79A12D5C-E0D6-87E5-C074-E348ECB53F81}" dt="2020-11-30T23:47:23.531" v="198" actId="20577"/>
          <ac:spMkLst>
            <pc:docMk/>
            <pc:sldMk cId="2266807988" sldId="261"/>
            <ac:spMk id="3" creationId="{94DC4502-8A92-4B62-96E3-18FE400C4C5F}"/>
          </ac:spMkLst>
        </pc:spChg>
      </pc:sldChg>
      <pc:sldChg chg="addSp modSp">
        <pc:chgData name="Mrunali Pramodbhai  Patel" userId="S::2783799@vikes.csuohio.edu::1e130dba-178f-4916-8c03-fef66396cb5a" providerId="AD" clId="Web-{79A12D5C-E0D6-87E5-C074-E348ECB53F81}" dt="2020-12-01T01:02:35.916" v="2315"/>
        <pc:sldMkLst>
          <pc:docMk/>
          <pc:sldMk cId="3400315354" sldId="262"/>
        </pc:sldMkLst>
        <pc:spChg chg="add mod">
          <ac:chgData name="Mrunali Pramodbhai  Patel" userId="S::2783799@vikes.csuohio.edu::1e130dba-178f-4916-8c03-fef66396cb5a" providerId="AD" clId="Web-{79A12D5C-E0D6-87E5-C074-E348ECB53F81}" dt="2020-12-01T00:05:37.320" v="917" actId="1076"/>
          <ac:spMkLst>
            <pc:docMk/>
            <pc:sldMk cId="3400315354" sldId="262"/>
            <ac:spMk id="2" creationId="{0785EC6B-0FD6-4F4A-B0E3-B6770AB25FD3}"/>
          </ac:spMkLst>
        </pc:spChg>
        <pc:graphicFrameChg chg="mod modGraphic">
          <ac:chgData name="Mrunali Pramodbhai  Patel" userId="S::2783799@vikes.csuohio.edu::1e130dba-178f-4916-8c03-fef66396cb5a" providerId="AD" clId="Web-{79A12D5C-E0D6-87E5-C074-E348ECB53F81}" dt="2020-12-01T01:02:35.916" v="2315"/>
          <ac:graphicFrameMkLst>
            <pc:docMk/>
            <pc:sldMk cId="3400315354" sldId="262"/>
            <ac:graphicFrameMk id="4" creationId="{A09BB9AE-5807-4078-8F86-660AD63F46C0}"/>
          </ac:graphicFrameMkLst>
        </pc:graphicFrameChg>
      </pc:sldChg>
      <pc:sldChg chg="addSp delSp modSp">
        <pc:chgData name="Mrunali Pramodbhai  Patel" userId="S::2783799@vikes.csuohio.edu::1e130dba-178f-4916-8c03-fef66396cb5a" providerId="AD" clId="Web-{79A12D5C-E0D6-87E5-C074-E348ECB53F81}" dt="2020-12-01T01:01:40.163" v="2218"/>
        <pc:sldMkLst>
          <pc:docMk/>
          <pc:sldMk cId="3881149273" sldId="264"/>
        </pc:sldMkLst>
        <pc:spChg chg="mod">
          <ac:chgData name="Mrunali Pramodbhai  Patel" userId="S::2783799@vikes.csuohio.edu::1e130dba-178f-4916-8c03-fef66396cb5a" providerId="AD" clId="Web-{79A12D5C-E0D6-87E5-C074-E348ECB53F81}" dt="2020-12-01T00:08:48.515" v="1011" actId="14100"/>
          <ac:spMkLst>
            <pc:docMk/>
            <pc:sldMk cId="3881149273" sldId="264"/>
            <ac:spMk id="2" creationId="{F4106BE2-428F-41F0-987C-0D2B813B3982}"/>
          </ac:spMkLst>
        </pc:spChg>
        <pc:spChg chg="mod ord">
          <ac:chgData name="Mrunali Pramodbhai  Patel" userId="S::2783799@vikes.csuohio.edu::1e130dba-178f-4916-8c03-fef66396cb5a" providerId="AD" clId="Web-{79A12D5C-E0D6-87E5-C074-E348ECB53F81}" dt="2020-12-01T00:09:04.875" v="1020" actId="20577"/>
          <ac:spMkLst>
            <pc:docMk/>
            <pc:sldMk cId="3881149273" sldId="264"/>
            <ac:spMk id="6" creationId="{4A3AE77E-83C3-4F9E-BDB1-E73F53D65F6C}"/>
          </ac:spMkLst>
        </pc:spChg>
        <pc:spChg chg="del">
          <ac:chgData name="Mrunali Pramodbhai  Patel" userId="S::2783799@vikes.csuohio.edu::1e130dba-178f-4916-8c03-fef66396cb5a" providerId="AD" clId="Web-{79A12D5C-E0D6-87E5-C074-E348ECB53F81}" dt="2020-12-01T00:07:34.247" v="1000"/>
          <ac:spMkLst>
            <pc:docMk/>
            <pc:sldMk cId="3881149273" sldId="264"/>
            <ac:spMk id="71" creationId="{5AAE9118-0436-4488-AC4A-C14DF6A7B6B1}"/>
          </ac:spMkLst>
        </pc:spChg>
        <pc:spChg chg="del">
          <ac:chgData name="Mrunali Pramodbhai  Patel" userId="S::2783799@vikes.csuohio.edu::1e130dba-178f-4916-8c03-fef66396cb5a" providerId="AD" clId="Web-{79A12D5C-E0D6-87E5-C074-E348ECB53F81}" dt="2020-12-01T00:07:34.247" v="1000"/>
          <ac:spMkLst>
            <pc:docMk/>
            <pc:sldMk cId="3881149273" sldId="264"/>
            <ac:spMk id="73" creationId="{1B10F861-B8F1-49C7-BD58-EAB20CEE7F93}"/>
          </ac:spMkLst>
        </pc:spChg>
        <pc:spChg chg="del">
          <ac:chgData name="Mrunali Pramodbhai  Patel" userId="S::2783799@vikes.csuohio.edu::1e130dba-178f-4916-8c03-fef66396cb5a" providerId="AD" clId="Web-{79A12D5C-E0D6-87E5-C074-E348ECB53F81}" dt="2020-12-01T00:07:34.247" v="1000"/>
          <ac:spMkLst>
            <pc:docMk/>
            <pc:sldMk cId="3881149273" sldId="264"/>
            <ac:spMk id="75" creationId="{61F6E425-22AB-4DA2-8FAC-58ADB58EF6C3}"/>
          </ac:spMkLst>
        </pc:spChg>
        <pc:spChg chg="add">
          <ac:chgData name="Mrunali Pramodbhai  Patel" userId="S::2783799@vikes.csuohio.edu::1e130dba-178f-4916-8c03-fef66396cb5a" providerId="AD" clId="Web-{79A12D5C-E0D6-87E5-C074-E348ECB53F81}" dt="2020-12-01T00:08:21.795" v="1001"/>
          <ac:spMkLst>
            <pc:docMk/>
            <pc:sldMk cId="3881149273" sldId="264"/>
            <ac:spMk id="77" creationId="{6D8B37B0-0682-433E-BC8D-498C04ABD9A7}"/>
          </ac:spMkLst>
        </pc:spChg>
        <pc:spChg chg="add del">
          <ac:chgData name="Mrunali Pramodbhai  Patel" userId="S::2783799@vikes.csuohio.edu::1e130dba-178f-4916-8c03-fef66396cb5a" providerId="AD" clId="Web-{79A12D5C-E0D6-87E5-C074-E348ECB53F81}" dt="2020-12-01T00:08:21.795" v="1001"/>
          <ac:spMkLst>
            <pc:docMk/>
            <pc:sldMk cId="3881149273" sldId="264"/>
            <ac:spMk id="135" creationId="{1022CA72-2A63-428F-B586-37BA5AB6D265}"/>
          </ac:spMkLst>
        </pc:spChg>
        <pc:spChg chg="add del">
          <ac:chgData name="Mrunali Pramodbhai  Patel" userId="S::2783799@vikes.csuohio.edu::1e130dba-178f-4916-8c03-fef66396cb5a" providerId="AD" clId="Web-{79A12D5C-E0D6-87E5-C074-E348ECB53F81}" dt="2020-12-01T00:08:21.795" v="1001"/>
          <ac:spMkLst>
            <pc:docMk/>
            <pc:sldMk cId="3881149273" sldId="264"/>
            <ac:spMk id="137" creationId="{95C8260E-968F-44E8-A823-ABB431311926}"/>
          </ac:spMkLst>
        </pc:spChg>
        <pc:spChg chg="add del">
          <ac:chgData name="Mrunali Pramodbhai  Patel" userId="S::2783799@vikes.csuohio.edu::1e130dba-178f-4916-8c03-fef66396cb5a" providerId="AD" clId="Web-{79A12D5C-E0D6-87E5-C074-E348ECB53F81}" dt="2020-12-01T00:08:21.795" v="1001"/>
          <ac:spMkLst>
            <pc:docMk/>
            <pc:sldMk cId="3881149273" sldId="264"/>
            <ac:spMk id="139" creationId="{2C1BBA94-3F40-40AA-8BB9-E69E25E537C1}"/>
          </ac:spMkLst>
        </pc:spChg>
        <pc:spChg chg="add del">
          <ac:chgData name="Mrunali Pramodbhai  Patel" userId="S::2783799@vikes.csuohio.edu::1e130dba-178f-4916-8c03-fef66396cb5a" providerId="AD" clId="Web-{79A12D5C-E0D6-87E5-C074-E348ECB53F81}" dt="2020-12-01T00:08:21.795" v="1001"/>
          <ac:spMkLst>
            <pc:docMk/>
            <pc:sldMk cId="3881149273" sldId="264"/>
            <ac:spMk id="141" creationId="{FE43805F-24A6-46A4-B19B-54F28347355C}"/>
          </ac:spMkLst>
        </pc:spChg>
        <pc:spChg chg="add">
          <ac:chgData name="Mrunali Pramodbhai  Patel" userId="S::2783799@vikes.csuohio.edu::1e130dba-178f-4916-8c03-fef66396cb5a" providerId="AD" clId="Web-{79A12D5C-E0D6-87E5-C074-E348ECB53F81}" dt="2020-12-01T00:08:21.795" v="1001"/>
          <ac:spMkLst>
            <pc:docMk/>
            <pc:sldMk cId="3881149273" sldId="264"/>
            <ac:spMk id="4100" creationId="{69D47016-023F-44BD-981C-50E7A10A6609}"/>
          </ac:spMkLst>
        </pc:spChg>
        <pc:graphicFrameChg chg="mod modGraphic">
          <ac:chgData name="Mrunali Pramodbhai  Patel" userId="S::2783799@vikes.csuohio.edu::1e130dba-178f-4916-8c03-fef66396cb5a" providerId="AD" clId="Web-{79A12D5C-E0D6-87E5-C074-E348ECB53F81}" dt="2020-12-01T01:01:40.163" v="2218"/>
          <ac:graphicFrameMkLst>
            <pc:docMk/>
            <pc:sldMk cId="3881149273" sldId="264"/>
            <ac:graphicFrameMk id="4" creationId="{306FB906-0C1A-4B67-8918-8C73197905C7}"/>
          </ac:graphicFrameMkLst>
        </pc:graphicFrameChg>
        <pc:picChg chg="mod ord">
          <ac:chgData name="Mrunali Pramodbhai  Patel" userId="S::2783799@vikes.csuohio.edu::1e130dba-178f-4916-8c03-fef66396cb5a" providerId="AD" clId="Web-{79A12D5C-E0D6-87E5-C074-E348ECB53F81}" dt="2020-12-01T00:10:25.284" v="1051" actId="14100"/>
          <ac:picMkLst>
            <pc:docMk/>
            <pc:sldMk cId="3881149273" sldId="264"/>
            <ac:picMk id="4098" creationId="{0F818F7F-73BC-4115-BD7D-29E45D3C51EB}"/>
          </ac:picMkLst>
        </pc:picChg>
      </pc:sldChg>
      <pc:sldChg chg="addSp delSp modSp">
        <pc:chgData name="Mrunali Pramodbhai  Patel" userId="S::2783799@vikes.csuohio.edu::1e130dba-178f-4916-8c03-fef66396cb5a" providerId="AD" clId="Web-{79A12D5C-E0D6-87E5-C074-E348ECB53F81}" dt="2020-12-01T01:01:28.959" v="2205"/>
        <pc:sldMkLst>
          <pc:docMk/>
          <pc:sldMk cId="4180734371" sldId="265"/>
        </pc:sldMkLst>
        <pc:spChg chg="mod">
          <ac:chgData name="Mrunali Pramodbhai  Patel" userId="S::2783799@vikes.csuohio.edu::1e130dba-178f-4916-8c03-fef66396cb5a" providerId="AD" clId="Web-{79A12D5C-E0D6-87E5-C074-E348ECB53F81}" dt="2020-12-01T00:11:27.552" v="1093" actId="14100"/>
          <ac:spMkLst>
            <pc:docMk/>
            <pc:sldMk cId="4180734371" sldId="265"/>
            <ac:spMk id="2" creationId="{4F20A225-27D5-462E-862C-8B9308A193DB}"/>
          </ac:spMkLst>
        </pc:spChg>
        <pc:spChg chg="mod">
          <ac:chgData name="Mrunali Pramodbhai  Patel" userId="S::2783799@vikes.csuohio.edu::1e130dba-178f-4916-8c03-fef66396cb5a" providerId="AD" clId="Web-{79A12D5C-E0D6-87E5-C074-E348ECB53F81}" dt="2020-12-01T00:12:24.569" v="1104" actId="14100"/>
          <ac:spMkLst>
            <pc:docMk/>
            <pc:sldMk cId="4180734371" sldId="265"/>
            <ac:spMk id="18" creationId="{FC5B3E5F-D10C-4524-A5FA-EDAB72CCC89C}"/>
          </ac:spMkLst>
        </pc:spChg>
        <pc:spChg chg="del">
          <ac:chgData name="Mrunali Pramodbhai  Patel" userId="S::2783799@vikes.csuohio.edu::1e130dba-178f-4916-8c03-fef66396cb5a" providerId="AD" clId="Web-{79A12D5C-E0D6-87E5-C074-E348ECB53F81}" dt="2020-12-01T00:10:45.847" v="1052"/>
          <ac:spMkLst>
            <pc:docMk/>
            <pc:sldMk cId="4180734371" sldId="265"/>
            <ac:spMk id="24" creationId="{73DE2CFE-42F2-48F0-8706-5264E012B10C}"/>
          </ac:spMkLst>
        </pc:spChg>
        <pc:spChg chg="add">
          <ac:chgData name="Mrunali Pramodbhai  Patel" userId="S::2783799@vikes.csuohio.edu::1e130dba-178f-4916-8c03-fef66396cb5a" providerId="AD" clId="Web-{79A12D5C-E0D6-87E5-C074-E348ECB53F81}" dt="2020-12-01T00:10:45.847" v="1052"/>
          <ac:spMkLst>
            <pc:docMk/>
            <pc:sldMk cId="4180734371" sldId="265"/>
            <ac:spMk id="29" creationId="{FFB60E8C-7224-44A4-87A0-46A1711DD2ED}"/>
          </ac:spMkLst>
        </pc:spChg>
        <pc:spChg chg="add">
          <ac:chgData name="Mrunali Pramodbhai  Patel" userId="S::2783799@vikes.csuohio.edu::1e130dba-178f-4916-8c03-fef66396cb5a" providerId="AD" clId="Web-{79A12D5C-E0D6-87E5-C074-E348ECB53F81}" dt="2020-12-01T00:10:45.847" v="1052"/>
          <ac:spMkLst>
            <pc:docMk/>
            <pc:sldMk cId="4180734371" sldId="265"/>
            <ac:spMk id="31" creationId="{5DA32751-37A2-45C0-BE94-63D375E27003}"/>
          </ac:spMkLst>
        </pc:spChg>
        <pc:spChg chg="add">
          <ac:chgData name="Mrunali Pramodbhai  Patel" userId="S::2783799@vikes.csuohio.edu::1e130dba-178f-4916-8c03-fef66396cb5a" providerId="AD" clId="Web-{79A12D5C-E0D6-87E5-C074-E348ECB53F81}" dt="2020-12-01T00:10:45.847" v="1052"/>
          <ac:spMkLst>
            <pc:docMk/>
            <pc:sldMk cId="4180734371" sldId="265"/>
            <ac:spMk id="33" creationId="{E659831F-0D9A-4C63-9EBB-8435B85A440F}"/>
          </ac:spMkLst>
        </pc:spChg>
        <pc:spChg chg="add">
          <ac:chgData name="Mrunali Pramodbhai  Patel" userId="S::2783799@vikes.csuohio.edu::1e130dba-178f-4916-8c03-fef66396cb5a" providerId="AD" clId="Web-{79A12D5C-E0D6-87E5-C074-E348ECB53F81}" dt="2020-12-01T00:10:45.847" v="1052"/>
          <ac:spMkLst>
            <pc:docMk/>
            <pc:sldMk cId="4180734371" sldId="265"/>
            <ac:spMk id="35" creationId="{5A55FBCD-CD42-40F5-8A1B-3203F9CAEEAA}"/>
          </ac:spMkLst>
        </pc:spChg>
        <pc:graphicFrameChg chg="mod modGraphic">
          <ac:chgData name="Mrunali Pramodbhai  Patel" userId="S::2783799@vikes.csuohio.edu::1e130dba-178f-4916-8c03-fef66396cb5a" providerId="AD" clId="Web-{79A12D5C-E0D6-87E5-C074-E348ECB53F81}" dt="2020-12-01T01:01:28.959" v="2205"/>
          <ac:graphicFrameMkLst>
            <pc:docMk/>
            <pc:sldMk cId="4180734371" sldId="265"/>
            <ac:graphicFrameMk id="19" creationId="{6AF379B8-064C-4ECB-A635-456A45E567D1}"/>
          </ac:graphicFrameMkLst>
        </pc:graphicFrameChg>
      </pc:sldChg>
      <pc:sldChg chg="modSp">
        <pc:chgData name="Mrunali Pramodbhai  Patel" userId="S::2783799@vikes.csuohio.edu::1e130dba-178f-4916-8c03-fef66396cb5a" providerId="AD" clId="Web-{79A12D5C-E0D6-87E5-C074-E348ECB53F81}" dt="2020-12-01T00:12:45.258" v="1106" actId="1076"/>
        <pc:sldMkLst>
          <pc:docMk/>
          <pc:sldMk cId="1138601960" sldId="266"/>
        </pc:sldMkLst>
        <pc:picChg chg="mod">
          <ac:chgData name="Mrunali Pramodbhai  Patel" userId="S::2783799@vikes.csuohio.edu::1e130dba-178f-4916-8c03-fef66396cb5a" providerId="AD" clId="Web-{79A12D5C-E0D6-87E5-C074-E348ECB53F81}" dt="2020-12-01T00:12:45.258" v="1106" actId="1076"/>
          <ac:picMkLst>
            <pc:docMk/>
            <pc:sldMk cId="1138601960" sldId="266"/>
            <ac:picMk id="6149" creationId="{846AB0BF-8401-4F6C-8EBA-B08A04C5168C}"/>
          </ac:picMkLst>
        </pc:picChg>
      </pc:sldChg>
      <pc:sldChg chg="addSp delSp modSp">
        <pc:chgData name="Mrunali Pramodbhai  Patel" userId="S::2783799@vikes.csuohio.edu::1e130dba-178f-4916-8c03-fef66396cb5a" providerId="AD" clId="Web-{79A12D5C-E0D6-87E5-C074-E348ECB53F81}" dt="2020-12-01T00:37:13.378" v="1132" actId="20577"/>
        <pc:sldMkLst>
          <pc:docMk/>
          <pc:sldMk cId="720775272" sldId="267"/>
        </pc:sldMkLst>
        <pc:spChg chg="mod">
          <ac:chgData name="Mrunali Pramodbhai  Patel" userId="S::2783799@vikes.csuohio.edu::1e130dba-178f-4916-8c03-fef66396cb5a" providerId="AD" clId="Web-{79A12D5C-E0D6-87E5-C074-E348ECB53F81}" dt="2020-12-01T00:37:13.378" v="1132" actId="20577"/>
          <ac:spMkLst>
            <pc:docMk/>
            <pc:sldMk cId="720775272" sldId="267"/>
            <ac:spMk id="2" creationId="{99E2897C-52AE-4686-B581-76EEEC3B40B7}"/>
          </ac:spMkLst>
        </pc:spChg>
        <pc:spChg chg="del">
          <ac:chgData name="Mrunali Pramodbhai  Patel" userId="S::2783799@vikes.csuohio.edu::1e130dba-178f-4916-8c03-fef66396cb5a" providerId="AD" clId="Web-{79A12D5C-E0D6-87E5-C074-E348ECB53F81}" dt="2020-12-01T00:36:49.096" v="1107"/>
          <ac:spMkLst>
            <pc:docMk/>
            <pc:sldMk cId="720775272" sldId="267"/>
            <ac:spMk id="17" creationId="{D4771268-CB57-404A-9271-370EB28F6090}"/>
          </ac:spMkLst>
        </pc:spChg>
        <pc:spChg chg="add">
          <ac:chgData name="Mrunali Pramodbhai  Patel" userId="S::2783799@vikes.csuohio.edu::1e130dba-178f-4916-8c03-fef66396cb5a" providerId="AD" clId="Web-{79A12D5C-E0D6-87E5-C074-E348ECB53F81}" dt="2020-12-01T00:36:49.096" v="1107"/>
          <ac:spMkLst>
            <pc:docMk/>
            <pc:sldMk cId="720775272" sldId="267"/>
            <ac:spMk id="22" creationId="{A4AC5506-6312-4701-8D3C-40187889A947}"/>
          </ac:spMkLst>
        </pc:spChg>
        <pc:graphicFrameChg chg="mod modGraphic">
          <ac:chgData name="Mrunali Pramodbhai  Patel" userId="S::2783799@vikes.csuohio.edu::1e130dba-178f-4916-8c03-fef66396cb5a" providerId="AD" clId="Web-{79A12D5C-E0D6-87E5-C074-E348ECB53F81}" dt="2020-12-01T00:36:49.096" v="1107"/>
          <ac:graphicFrameMkLst>
            <pc:docMk/>
            <pc:sldMk cId="720775272" sldId="267"/>
            <ac:graphicFrameMk id="4" creationId="{287D5891-C110-4D15-9C32-61633027EFAF}"/>
          </ac:graphicFrameMkLst>
        </pc:graphicFrameChg>
      </pc:sldChg>
      <pc:sldChg chg="modSp">
        <pc:chgData name="Mrunali Pramodbhai  Patel" userId="S::2783799@vikes.csuohio.edu::1e130dba-178f-4916-8c03-fef66396cb5a" providerId="AD" clId="Web-{79A12D5C-E0D6-87E5-C074-E348ECB53F81}" dt="2020-12-01T01:00:12.846" v="2137"/>
        <pc:sldMkLst>
          <pc:docMk/>
          <pc:sldMk cId="1704361268" sldId="268"/>
        </pc:sldMkLst>
        <pc:spChg chg="mod">
          <ac:chgData name="Mrunali Pramodbhai  Patel" userId="S::2783799@vikes.csuohio.edu::1e130dba-178f-4916-8c03-fef66396cb5a" providerId="AD" clId="Web-{79A12D5C-E0D6-87E5-C074-E348ECB53F81}" dt="2020-12-01T00:43:37.243" v="1338" actId="20577"/>
          <ac:spMkLst>
            <pc:docMk/>
            <pc:sldMk cId="1704361268" sldId="268"/>
            <ac:spMk id="2" creationId="{CA2E3049-03A0-4F7D-987B-924CC0066E7E}"/>
          </ac:spMkLst>
        </pc:spChg>
        <pc:graphicFrameChg chg="mod modGraphic">
          <ac:chgData name="Mrunali Pramodbhai  Patel" userId="S::2783799@vikes.csuohio.edu::1e130dba-178f-4916-8c03-fef66396cb5a" providerId="AD" clId="Web-{79A12D5C-E0D6-87E5-C074-E348ECB53F81}" dt="2020-12-01T01:00:12.846" v="2137"/>
          <ac:graphicFrameMkLst>
            <pc:docMk/>
            <pc:sldMk cId="1704361268" sldId="268"/>
            <ac:graphicFrameMk id="7" creationId="{DD3369CA-EC43-49CC-B44A-AC6C39C6C088}"/>
          </ac:graphicFrameMkLst>
        </pc:graphicFrameChg>
      </pc:sldChg>
      <pc:sldChg chg="addSp delSp modSp">
        <pc:chgData name="Mrunali Pramodbhai  Patel" userId="S::2783799@vikes.csuohio.edu::1e130dba-178f-4916-8c03-fef66396cb5a" providerId="AD" clId="Web-{79A12D5C-E0D6-87E5-C074-E348ECB53F81}" dt="2020-12-01T00:45:29.781" v="1386" actId="20577"/>
        <pc:sldMkLst>
          <pc:docMk/>
          <pc:sldMk cId="814600342" sldId="269"/>
        </pc:sldMkLst>
        <pc:spChg chg="mod ord">
          <ac:chgData name="Mrunali Pramodbhai  Patel" userId="S::2783799@vikes.csuohio.edu::1e130dba-178f-4916-8c03-fef66396cb5a" providerId="AD" clId="Web-{79A12D5C-E0D6-87E5-C074-E348ECB53F81}" dt="2020-12-01T00:45:29.781" v="1386" actId="20577"/>
          <ac:spMkLst>
            <pc:docMk/>
            <pc:sldMk cId="814600342" sldId="269"/>
            <ac:spMk id="2" creationId="{7E1E9DA8-6D7D-4E48-A686-429CA77B4A20}"/>
          </ac:spMkLst>
        </pc:spChg>
        <pc:spChg chg="del">
          <ac:chgData name="Mrunali Pramodbhai  Patel" userId="S::2783799@vikes.csuohio.edu::1e130dba-178f-4916-8c03-fef66396cb5a" providerId="AD" clId="Web-{79A12D5C-E0D6-87E5-C074-E348ECB53F81}" dt="2020-11-30T22:29:45.598" v="40"/>
          <ac:spMkLst>
            <pc:docMk/>
            <pc:sldMk cId="814600342" sldId="269"/>
            <ac:spMk id="75" creationId="{41AB65AE-A08D-4F43-8E53-5F1B8D842438}"/>
          </ac:spMkLst>
        </pc:spChg>
        <pc:spChg chg="add del">
          <ac:chgData name="Mrunali Pramodbhai  Patel" userId="S::2783799@vikes.csuohio.edu::1e130dba-178f-4916-8c03-fef66396cb5a" providerId="AD" clId="Web-{79A12D5C-E0D6-87E5-C074-E348ECB53F81}" dt="2020-11-30T22:38:48.352" v="60"/>
          <ac:spMkLst>
            <pc:docMk/>
            <pc:sldMk cId="814600342" sldId="269"/>
            <ac:spMk id="135" creationId="{022BDE4A-8A20-4A69-9C5A-581C82036A4D}"/>
          </ac:spMkLst>
        </pc:spChg>
        <pc:spChg chg="add">
          <ac:chgData name="Mrunali Pramodbhai  Patel" userId="S::2783799@vikes.csuohio.edu::1e130dba-178f-4916-8c03-fef66396cb5a" providerId="AD" clId="Web-{79A12D5C-E0D6-87E5-C074-E348ECB53F81}" dt="2020-11-30T22:38:48.352" v="60"/>
          <ac:spMkLst>
            <pc:docMk/>
            <pc:sldMk cId="814600342" sldId="269"/>
            <ac:spMk id="192" creationId="{96918796-2918-40D6-BE3A-4600C47FCD42}"/>
          </ac:spMkLst>
        </pc:spChg>
        <pc:picChg chg="mod">
          <ac:chgData name="Mrunali Pramodbhai  Patel" userId="S::2783799@vikes.csuohio.edu::1e130dba-178f-4916-8c03-fef66396cb5a" providerId="AD" clId="Web-{79A12D5C-E0D6-87E5-C074-E348ECB53F81}" dt="2020-11-30T22:39:51.948" v="70" actId="14100"/>
          <ac:picMkLst>
            <pc:docMk/>
            <pc:sldMk cId="814600342" sldId="269"/>
            <ac:picMk id="8" creationId="{75B0BF99-A8F3-4F58-B6B6-8AFF7FC2C095}"/>
          </ac:picMkLst>
        </pc:picChg>
        <pc:picChg chg="mod ord">
          <ac:chgData name="Mrunali Pramodbhai  Patel" userId="S::2783799@vikes.csuohio.edu::1e130dba-178f-4916-8c03-fef66396cb5a" providerId="AD" clId="Web-{79A12D5C-E0D6-87E5-C074-E348ECB53F81}" dt="2020-11-30T22:39:48.886" v="69" actId="14100"/>
          <ac:picMkLst>
            <pc:docMk/>
            <pc:sldMk cId="814600342" sldId="269"/>
            <ac:picMk id="9218" creationId="{C8AA3EFD-41BC-4E06-AF38-8E6327FBFE8F}"/>
          </ac:picMkLst>
        </pc:picChg>
      </pc:sldChg>
      <pc:sldChg chg="modSp">
        <pc:chgData name="Mrunali Pramodbhai  Patel" userId="S::2783799@vikes.csuohio.edu::1e130dba-178f-4916-8c03-fef66396cb5a" providerId="AD" clId="Web-{79A12D5C-E0D6-87E5-C074-E348ECB53F81}" dt="2020-12-01T00:59:52.610" v="2072"/>
        <pc:sldMkLst>
          <pc:docMk/>
          <pc:sldMk cId="4021630271" sldId="270"/>
        </pc:sldMkLst>
        <pc:spChg chg="mod">
          <ac:chgData name="Mrunali Pramodbhai  Patel" userId="S::2783799@vikes.csuohio.edu::1e130dba-178f-4916-8c03-fef66396cb5a" providerId="AD" clId="Web-{79A12D5C-E0D6-87E5-C074-E348ECB53F81}" dt="2020-12-01T00:48:51.980" v="1568" actId="20577"/>
          <ac:spMkLst>
            <pc:docMk/>
            <pc:sldMk cId="4021630271" sldId="270"/>
            <ac:spMk id="2" creationId="{EB716928-8AC8-4E6C-A9C4-E7C3C37744F4}"/>
          </ac:spMkLst>
        </pc:spChg>
        <pc:graphicFrameChg chg="mod modGraphic">
          <ac:chgData name="Mrunali Pramodbhai  Patel" userId="S::2783799@vikes.csuohio.edu::1e130dba-178f-4916-8c03-fef66396cb5a" providerId="AD" clId="Web-{79A12D5C-E0D6-87E5-C074-E348ECB53F81}" dt="2020-12-01T00:59:52.610" v="2072"/>
          <ac:graphicFrameMkLst>
            <pc:docMk/>
            <pc:sldMk cId="4021630271" sldId="270"/>
            <ac:graphicFrameMk id="31" creationId="{0D2E707B-1F62-433A-B6A1-86B2901D85C6}"/>
          </ac:graphicFrameMkLst>
        </pc:graphicFrameChg>
      </pc:sldChg>
      <pc:sldChg chg="addSp delSp modSp">
        <pc:chgData name="Mrunali Pramodbhai  Patel" userId="S::2783799@vikes.csuohio.edu::1e130dba-178f-4916-8c03-fef66396cb5a" providerId="AD" clId="Web-{79A12D5C-E0D6-87E5-C074-E348ECB53F81}" dt="2020-11-30T22:38:00.882" v="59"/>
        <pc:sldMkLst>
          <pc:docMk/>
          <pc:sldMk cId="581668791" sldId="271"/>
        </pc:sldMkLst>
        <pc:spChg chg="del">
          <ac:chgData name="Mrunali Pramodbhai  Patel" userId="S::2783799@vikes.csuohio.edu::1e130dba-178f-4916-8c03-fef66396cb5a" providerId="AD" clId="Web-{79A12D5C-E0D6-87E5-C074-E348ECB53F81}" dt="2020-11-30T22:38:00.882" v="59"/>
          <ac:spMkLst>
            <pc:docMk/>
            <pc:sldMk cId="581668791" sldId="271"/>
            <ac:spMk id="43" creationId="{A4AC5506-6312-4701-8D3C-40187889A947}"/>
          </ac:spMkLst>
        </pc:spChg>
        <pc:spChg chg="add">
          <ac:chgData name="Mrunali Pramodbhai  Patel" userId="S::2783799@vikes.csuohio.edu::1e130dba-178f-4916-8c03-fef66396cb5a" providerId="AD" clId="Web-{79A12D5C-E0D6-87E5-C074-E348ECB53F81}" dt="2020-11-30T22:38:00.882" v="59"/>
          <ac:spMkLst>
            <pc:docMk/>
            <pc:sldMk cId="581668791" sldId="271"/>
            <ac:spMk id="48" creationId="{A4AC5506-6312-4701-8D3C-40187889A947}"/>
          </ac:spMkLst>
        </pc:spChg>
        <pc:graphicFrameChg chg="mod modGraphic">
          <ac:chgData name="Mrunali Pramodbhai  Patel" userId="S::2783799@vikes.csuohio.edu::1e130dba-178f-4916-8c03-fef66396cb5a" providerId="AD" clId="Web-{79A12D5C-E0D6-87E5-C074-E348ECB53F81}" dt="2020-11-30T22:38:00.882" v="59"/>
          <ac:graphicFrameMkLst>
            <pc:docMk/>
            <pc:sldMk cId="581668791" sldId="271"/>
            <ac:graphicFrameMk id="14" creationId="{645A298F-85F6-469E-98D0-55EFA89EDE08}"/>
          </ac:graphicFrameMkLst>
        </pc:graphicFrameChg>
      </pc:sldChg>
      <pc:sldChg chg="modSp">
        <pc:chgData name="Mrunali Pramodbhai  Patel" userId="S::2783799@vikes.csuohio.edu::1e130dba-178f-4916-8c03-fef66396cb5a" providerId="AD" clId="Web-{79A12D5C-E0D6-87E5-C074-E348ECB53F81}" dt="2020-12-01T00:52:23.460" v="1677" actId="20577"/>
        <pc:sldMkLst>
          <pc:docMk/>
          <pc:sldMk cId="3350954519" sldId="272"/>
        </pc:sldMkLst>
        <pc:spChg chg="mod">
          <ac:chgData name="Mrunali Pramodbhai  Patel" userId="S::2783799@vikes.csuohio.edu::1e130dba-178f-4916-8c03-fef66396cb5a" providerId="AD" clId="Web-{79A12D5C-E0D6-87E5-C074-E348ECB53F81}" dt="2020-12-01T00:52:23.460" v="1677" actId="20577"/>
          <ac:spMkLst>
            <pc:docMk/>
            <pc:sldMk cId="3350954519" sldId="272"/>
            <ac:spMk id="2" creationId="{AB20FA96-0B0C-40D1-839A-9A7B61B5621E}"/>
          </ac:spMkLst>
        </pc:spChg>
      </pc:sldChg>
      <pc:sldChg chg="addSp delSp modSp">
        <pc:chgData name="Mrunali Pramodbhai  Patel" userId="S::2783799@vikes.csuohio.edu::1e130dba-178f-4916-8c03-fef66396cb5a" providerId="AD" clId="Web-{79A12D5C-E0D6-87E5-C074-E348ECB53F81}" dt="2020-12-01T00:58:01.635" v="1767" actId="20577"/>
        <pc:sldMkLst>
          <pc:docMk/>
          <pc:sldMk cId="3417158616" sldId="273"/>
        </pc:sldMkLst>
        <pc:spChg chg="mod">
          <ac:chgData name="Mrunali Pramodbhai  Patel" userId="S::2783799@vikes.csuohio.edu::1e130dba-178f-4916-8c03-fef66396cb5a" providerId="AD" clId="Web-{79A12D5C-E0D6-87E5-C074-E348ECB53F81}" dt="2020-12-01T00:56:12.692" v="1738"/>
          <ac:spMkLst>
            <pc:docMk/>
            <pc:sldMk cId="3417158616" sldId="273"/>
            <ac:spMk id="2" creationId="{AA309B92-0EB2-48E4-BE38-3C26772FCFC2}"/>
          </ac:spMkLst>
        </pc:spChg>
        <pc:spChg chg="mod ord">
          <ac:chgData name="Mrunali Pramodbhai  Patel" userId="S::2783799@vikes.csuohio.edu::1e130dba-178f-4916-8c03-fef66396cb5a" providerId="AD" clId="Web-{79A12D5C-E0D6-87E5-C074-E348ECB53F81}" dt="2020-12-01T00:58:01.635" v="1767" actId="20577"/>
          <ac:spMkLst>
            <pc:docMk/>
            <pc:sldMk cId="3417158616" sldId="273"/>
            <ac:spMk id="20" creationId="{C2BE5BF0-8DED-4ACC-B337-8A27C0661055}"/>
          </ac:spMkLst>
        </pc:spChg>
        <pc:spChg chg="del">
          <ac:chgData name="Mrunali Pramodbhai  Patel" userId="S::2783799@vikes.csuohio.edu::1e130dba-178f-4916-8c03-fef66396cb5a" providerId="AD" clId="Web-{79A12D5C-E0D6-87E5-C074-E348ECB53F81}" dt="2020-11-30T22:30:58.070" v="43"/>
          <ac:spMkLst>
            <pc:docMk/>
            <pc:sldMk cId="3417158616" sldId="273"/>
            <ac:spMk id="21" creationId="{7269EBCC-2006-4BB1-87B8-1E132C787EDF}"/>
          </ac:spMkLst>
        </pc:spChg>
        <pc:spChg chg="del">
          <ac:chgData name="Mrunali Pramodbhai  Patel" userId="S::2783799@vikes.csuohio.edu::1e130dba-178f-4916-8c03-fef66396cb5a" providerId="AD" clId="Web-{79A12D5C-E0D6-87E5-C074-E348ECB53F81}" dt="2020-12-01T00:56:12.692" v="1738"/>
          <ac:spMkLst>
            <pc:docMk/>
            <pc:sldMk cId="3417158616" sldId="273"/>
            <ac:spMk id="31" creationId="{201CC55D-ED54-4C5C-95E6-10947BD1103B}"/>
          </ac:spMkLst>
        </pc:spChg>
        <pc:spChg chg="del">
          <ac:chgData name="Mrunali Pramodbhai  Patel" userId="S::2783799@vikes.csuohio.edu::1e130dba-178f-4916-8c03-fef66396cb5a" providerId="AD" clId="Web-{79A12D5C-E0D6-87E5-C074-E348ECB53F81}" dt="2020-12-01T00:56:12.692" v="1738"/>
          <ac:spMkLst>
            <pc:docMk/>
            <pc:sldMk cId="3417158616" sldId="273"/>
            <ac:spMk id="37" creationId="{3873B707-463F-40B0-8227-E8CC6C67EB25}"/>
          </ac:spMkLst>
        </pc:spChg>
        <pc:spChg chg="del">
          <ac:chgData name="Mrunali Pramodbhai  Patel" userId="S::2783799@vikes.csuohio.edu::1e130dba-178f-4916-8c03-fef66396cb5a" providerId="AD" clId="Web-{79A12D5C-E0D6-87E5-C074-E348ECB53F81}" dt="2020-12-01T00:56:12.692" v="1738"/>
          <ac:spMkLst>
            <pc:docMk/>
            <pc:sldMk cId="3417158616" sldId="273"/>
            <ac:spMk id="39" creationId="{C13237C8-E62C-4F0D-A318-BD6FB6C2D138}"/>
          </ac:spMkLst>
        </pc:spChg>
        <pc:spChg chg="del">
          <ac:chgData name="Mrunali Pramodbhai  Patel" userId="S::2783799@vikes.csuohio.edu::1e130dba-178f-4916-8c03-fef66396cb5a" providerId="AD" clId="Web-{79A12D5C-E0D6-87E5-C074-E348ECB53F81}" dt="2020-12-01T00:56:12.692" v="1738"/>
          <ac:spMkLst>
            <pc:docMk/>
            <pc:sldMk cId="3417158616" sldId="273"/>
            <ac:spMk id="41" creationId="{19C9EAEA-39D0-4B0E-A0EB-51E7B26740B1}"/>
          </ac:spMkLst>
        </pc:spChg>
        <pc:spChg chg="add">
          <ac:chgData name="Mrunali Pramodbhai  Patel" userId="S::2783799@vikes.csuohio.edu::1e130dba-178f-4916-8c03-fef66396cb5a" providerId="AD" clId="Web-{79A12D5C-E0D6-87E5-C074-E348ECB53F81}" dt="2020-12-01T00:56:12.692" v="1738"/>
          <ac:spMkLst>
            <pc:docMk/>
            <pc:sldMk cId="3417158616" sldId="273"/>
            <ac:spMk id="46" creationId="{49AE1604-BB93-4F6D-94D6-F2A6021FC5AD}"/>
          </ac:spMkLst>
        </pc:spChg>
        <pc:spChg chg="add">
          <ac:chgData name="Mrunali Pramodbhai  Patel" userId="S::2783799@vikes.csuohio.edu::1e130dba-178f-4916-8c03-fef66396cb5a" providerId="AD" clId="Web-{79A12D5C-E0D6-87E5-C074-E348ECB53F81}" dt="2020-12-01T00:56:12.692" v="1738"/>
          <ac:spMkLst>
            <pc:docMk/>
            <pc:sldMk cId="3417158616" sldId="273"/>
            <ac:spMk id="52" creationId="{CBC4F608-B4B8-48C3-9572-C0F061B1CD99}"/>
          </ac:spMkLst>
        </pc:spChg>
        <pc:spChg chg="add">
          <ac:chgData name="Mrunali Pramodbhai  Patel" userId="S::2783799@vikes.csuohio.edu::1e130dba-178f-4916-8c03-fef66396cb5a" providerId="AD" clId="Web-{79A12D5C-E0D6-87E5-C074-E348ECB53F81}" dt="2020-12-01T00:56:12.692" v="1738"/>
          <ac:spMkLst>
            <pc:docMk/>
            <pc:sldMk cId="3417158616" sldId="273"/>
            <ac:spMk id="54" creationId="{1382A32C-5B0C-4B1C-A074-76C6DBCC9F87}"/>
          </ac:spMkLst>
        </pc:spChg>
        <pc:grpChg chg="del">
          <ac:chgData name="Mrunali Pramodbhai  Patel" userId="S::2783799@vikes.csuohio.edu::1e130dba-178f-4916-8c03-fef66396cb5a" providerId="AD" clId="Web-{79A12D5C-E0D6-87E5-C074-E348ECB53F81}" dt="2020-12-01T00:56:12.692" v="1738"/>
          <ac:grpSpMkLst>
            <pc:docMk/>
            <pc:sldMk cId="3417158616" sldId="273"/>
            <ac:grpSpMk id="33" creationId="{1DE889C7-FAD6-4397-98E2-05D503484459}"/>
          </ac:grpSpMkLst>
        </pc:grpChg>
        <pc:grpChg chg="add">
          <ac:chgData name="Mrunali Pramodbhai  Patel" userId="S::2783799@vikes.csuohio.edu::1e130dba-178f-4916-8c03-fef66396cb5a" providerId="AD" clId="Web-{79A12D5C-E0D6-87E5-C074-E348ECB53F81}" dt="2020-12-01T00:56:12.692" v="1738"/>
          <ac:grpSpMkLst>
            <pc:docMk/>
            <pc:sldMk cId="3417158616" sldId="273"/>
            <ac:grpSpMk id="48" creationId="{A9270323-9616-4384-857D-E86B78272EFE}"/>
          </ac:grpSpMkLst>
        </pc:grpChg>
        <pc:picChg chg="mod ord">
          <ac:chgData name="Mrunali Pramodbhai  Patel" userId="S::2783799@vikes.csuohio.edu::1e130dba-178f-4916-8c03-fef66396cb5a" providerId="AD" clId="Web-{79A12D5C-E0D6-87E5-C074-E348ECB53F81}" dt="2020-12-01T00:56:12.692" v="1738"/>
          <ac:picMkLst>
            <pc:docMk/>
            <pc:sldMk cId="3417158616" sldId="273"/>
            <ac:picMk id="19" creationId="{5D828D9E-53DD-4E4B-86CF-8342CB41AE1A}"/>
          </ac:picMkLst>
        </pc:picChg>
        <pc:cxnChg chg="add">
          <ac:chgData name="Mrunali Pramodbhai  Patel" userId="S::2783799@vikes.csuohio.edu::1e130dba-178f-4916-8c03-fef66396cb5a" providerId="AD" clId="Web-{79A12D5C-E0D6-87E5-C074-E348ECB53F81}" dt="2020-11-30T22:30:58.070" v="43"/>
          <ac:cxnSpMkLst>
            <pc:docMk/>
            <pc:sldMk cId="3417158616" sldId="273"/>
            <ac:cxnSpMk id="26" creationId="{A7F400EE-A8A5-48AF-B4D6-291B52C6F0B0}"/>
          </ac:cxnSpMkLst>
        </pc:cxnChg>
      </pc:sldChg>
      <pc:sldChg chg="modSp">
        <pc:chgData name="Mrunali Pramodbhai  Patel" userId="S::2783799@vikes.csuohio.edu::1e130dba-178f-4916-8c03-fef66396cb5a" providerId="AD" clId="Web-{79A12D5C-E0D6-87E5-C074-E348ECB53F81}" dt="2020-11-30T21:47:56.336" v="13" actId="14100"/>
        <pc:sldMkLst>
          <pc:docMk/>
          <pc:sldMk cId="1933942813" sldId="274"/>
        </pc:sldMkLst>
        <pc:spChg chg="mod">
          <ac:chgData name="Mrunali Pramodbhai  Patel" userId="S::2783799@vikes.csuohio.edu::1e130dba-178f-4916-8c03-fef66396cb5a" providerId="AD" clId="Web-{79A12D5C-E0D6-87E5-C074-E348ECB53F81}" dt="2020-11-30T21:47:56.336" v="13" actId="14100"/>
          <ac:spMkLst>
            <pc:docMk/>
            <pc:sldMk cId="1933942813" sldId="274"/>
            <ac:spMk id="4" creationId="{0A90C981-EE46-42FD-94E6-31869D320EA7}"/>
          </ac:spMkLst>
        </pc:spChg>
      </pc:sldChg>
      <pc:sldChg chg="modSp">
        <pc:chgData name="Mrunali Pramodbhai  Patel" userId="S::2783799@vikes.csuohio.edu::1e130dba-178f-4916-8c03-fef66396cb5a" providerId="AD" clId="Web-{79A12D5C-E0D6-87E5-C074-E348ECB53F81}" dt="2020-12-01T00:54:18.654" v="1722" actId="20577"/>
        <pc:sldMkLst>
          <pc:docMk/>
          <pc:sldMk cId="484336297" sldId="276"/>
        </pc:sldMkLst>
        <pc:spChg chg="mod">
          <ac:chgData name="Mrunali Pramodbhai  Patel" userId="S::2783799@vikes.csuohio.edu::1e130dba-178f-4916-8c03-fef66396cb5a" providerId="AD" clId="Web-{79A12D5C-E0D6-87E5-C074-E348ECB53F81}" dt="2020-12-01T00:50:40.142" v="1645" actId="14100"/>
          <ac:spMkLst>
            <pc:docMk/>
            <pc:sldMk cId="484336297" sldId="276"/>
            <ac:spMk id="2" creationId="{84CC8A5B-A025-4B42-B63D-FF09983144BB}"/>
          </ac:spMkLst>
        </pc:spChg>
        <pc:spChg chg="mod">
          <ac:chgData name="Mrunali Pramodbhai  Patel" userId="S::2783799@vikes.csuohio.edu::1e130dba-178f-4916-8c03-fef66396cb5a" providerId="AD" clId="Web-{79A12D5C-E0D6-87E5-C074-E348ECB53F81}" dt="2020-12-01T00:54:18.654" v="1722" actId="20577"/>
          <ac:spMkLst>
            <pc:docMk/>
            <pc:sldMk cId="484336297" sldId="276"/>
            <ac:spMk id="3" creationId="{E91E8E90-7E10-4902-80B4-2B9466106119}"/>
          </ac:spMkLst>
        </pc:spChg>
      </pc:sldChg>
      <pc:sldChg chg="modSp">
        <pc:chgData name="Mrunali Pramodbhai  Patel" userId="S::2783799@vikes.csuohio.edu::1e130dba-178f-4916-8c03-fef66396cb5a" providerId="AD" clId="Web-{79A12D5C-E0D6-87E5-C074-E348ECB53F81}" dt="2020-11-30T23:56:47.223" v="589" actId="1076"/>
        <pc:sldMkLst>
          <pc:docMk/>
          <pc:sldMk cId="2223630483" sldId="279"/>
        </pc:sldMkLst>
        <pc:spChg chg="mod">
          <ac:chgData name="Mrunali Pramodbhai  Patel" userId="S::2783799@vikes.csuohio.edu::1e130dba-178f-4916-8c03-fef66396cb5a" providerId="AD" clId="Web-{79A12D5C-E0D6-87E5-C074-E348ECB53F81}" dt="2020-11-30T23:55:54.800" v="576" actId="20577"/>
          <ac:spMkLst>
            <pc:docMk/>
            <pc:sldMk cId="2223630483" sldId="279"/>
            <ac:spMk id="8" creationId="{D37C644B-2669-44DE-AD68-A999023E8564}"/>
          </ac:spMkLst>
        </pc:spChg>
        <pc:spChg chg="mod">
          <ac:chgData name="Mrunali Pramodbhai  Patel" userId="S::2783799@vikes.csuohio.edu::1e130dba-178f-4916-8c03-fef66396cb5a" providerId="AD" clId="Web-{79A12D5C-E0D6-87E5-C074-E348ECB53F81}" dt="2020-11-30T23:56:18.800" v="580" actId="20577"/>
          <ac:spMkLst>
            <pc:docMk/>
            <pc:sldMk cId="2223630483" sldId="279"/>
            <ac:spMk id="30" creationId="{E23ABC60-905F-46EB-A748-5BE6C54F01BC}"/>
          </ac:spMkLst>
        </pc:spChg>
        <pc:spChg chg="mod">
          <ac:chgData name="Mrunali Pramodbhai  Patel" userId="S::2783799@vikes.csuohio.edu::1e130dba-178f-4916-8c03-fef66396cb5a" providerId="AD" clId="Web-{79A12D5C-E0D6-87E5-C074-E348ECB53F81}" dt="2020-11-30T23:56:07.566" v="578" actId="20577"/>
          <ac:spMkLst>
            <pc:docMk/>
            <pc:sldMk cId="2223630483" sldId="279"/>
            <ac:spMk id="33" creationId="{D51477B1-C2DF-44C0-BE5A-2465F3F5764D}"/>
          </ac:spMkLst>
        </pc:spChg>
        <pc:spChg chg="mod">
          <ac:chgData name="Mrunali Pramodbhai  Patel" userId="S::2783799@vikes.csuohio.edu::1e130dba-178f-4916-8c03-fef66396cb5a" providerId="AD" clId="Web-{79A12D5C-E0D6-87E5-C074-E348ECB53F81}" dt="2020-11-30T23:56:47.223" v="589" actId="1076"/>
          <ac:spMkLst>
            <pc:docMk/>
            <pc:sldMk cId="2223630483" sldId="279"/>
            <ac:spMk id="34" creationId="{4DE6ECB9-71EA-4493-AEC8-5BB7F3F88B52}"/>
          </ac:spMkLst>
        </pc:spChg>
      </pc:sldChg>
      <pc:sldChg chg="modSp">
        <pc:chgData name="Mrunali Pramodbhai  Patel" userId="S::2783799@vikes.csuohio.edu::1e130dba-178f-4916-8c03-fef66396cb5a" providerId="AD" clId="Web-{79A12D5C-E0D6-87E5-C074-E348ECB53F81}" dt="2020-12-01T00:58:25.934" v="1796"/>
        <pc:sldMkLst>
          <pc:docMk/>
          <pc:sldMk cId="2943763322" sldId="280"/>
        </pc:sldMkLst>
        <pc:spChg chg="mod">
          <ac:chgData name="Mrunali Pramodbhai  Patel" userId="S::2783799@vikes.csuohio.edu::1e130dba-178f-4916-8c03-fef66396cb5a" providerId="AD" clId="Web-{79A12D5C-E0D6-87E5-C074-E348ECB53F81}" dt="2020-12-01T00:52:44.977" v="1690" actId="20577"/>
          <ac:spMkLst>
            <pc:docMk/>
            <pc:sldMk cId="2943763322" sldId="280"/>
            <ac:spMk id="4" creationId="{2158B3D4-06EC-482C-BEC1-173AF4E8C41C}"/>
          </ac:spMkLst>
        </pc:spChg>
        <pc:graphicFrameChg chg="mod modGraphic">
          <ac:chgData name="Mrunali Pramodbhai  Patel" userId="S::2783799@vikes.csuohio.edu::1e130dba-178f-4916-8c03-fef66396cb5a" providerId="AD" clId="Web-{79A12D5C-E0D6-87E5-C074-E348ECB53F81}" dt="2020-12-01T00:58:25.934" v="1796"/>
          <ac:graphicFrameMkLst>
            <pc:docMk/>
            <pc:sldMk cId="2943763322" sldId="280"/>
            <ac:graphicFrameMk id="5" creationId="{98FD0B16-DAFD-4BC2-878B-24F04F842071}"/>
          </ac:graphicFrameMkLst>
        </pc:graphicFrameChg>
      </pc:sldChg>
      <pc:sldChg chg="addSp delSp modSp mod setBg">
        <pc:chgData name="Mrunali Pramodbhai  Patel" userId="S::2783799@vikes.csuohio.edu::1e130dba-178f-4916-8c03-fef66396cb5a" providerId="AD" clId="Web-{79A12D5C-E0D6-87E5-C074-E348ECB53F81}" dt="2020-12-01T00:02:35.501" v="814" actId="14100"/>
        <pc:sldMkLst>
          <pc:docMk/>
          <pc:sldMk cId="3307272477" sldId="281"/>
        </pc:sldMkLst>
        <pc:spChg chg="mod">
          <ac:chgData name="Mrunali Pramodbhai  Patel" userId="S::2783799@vikes.csuohio.edu::1e130dba-178f-4916-8c03-fef66396cb5a" providerId="AD" clId="Web-{79A12D5C-E0D6-87E5-C074-E348ECB53F81}" dt="2020-12-01T00:01:20.749" v="768"/>
          <ac:spMkLst>
            <pc:docMk/>
            <pc:sldMk cId="3307272477" sldId="281"/>
            <ac:spMk id="6" creationId="{A9E4D676-313D-4EB6-B564-6BB888196C99}"/>
          </ac:spMkLst>
        </pc:spChg>
        <pc:spChg chg="add del">
          <ac:chgData name="Mrunali Pramodbhai  Patel" userId="S::2783799@vikes.csuohio.edu::1e130dba-178f-4916-8c03-fef66396cb5a" providerId="AD" clId="Web-{79A12D5C-E0D6-87E5-C074-E348ECB53F81}" dt="2020-12-01T00:01:20.749" v="768"/>
          <ac:spMkLst>
            <pc:docMk/>
            <pc:sldMk cId="3307272477" sldId="281"/>
            <ac:spMk id="13" creationId="{457D4A72-F4F1-498A-B083-59E8C50B7892}"/>
          </ac:spMkLst>
        </pc:spChg>
        <pc:spChg chg="add">
          <ac:chgData name="Mrunali Pramodbhai  Patel" userId="S::2783799@vikes.csuohio.edu::1e130dba-178f-4916-8c03-fef66396cb5a" providerId="AD" clId="Web-{79A12D5C-E0D6-87E5-C074-E348ECB53F81}" dt="2020-12-01T00:01:20.749" v="768"/>
          <ac:spMkLst>
            <pc:docMk/>
            <pc:sldMk cId="3307272477" sldId="281"/>
            <ac:spMk id="17" creationId="{62542EEC-4F7C-4AE2-933E-EAC8EB3FA378}"/>
          </ac:spMkLst>
        </pc:spChg>
        <pc:spChg chg="add">
          <ac:chgData name="Mrunali Pramodbhai  Patel" userId="S::2783799@vikes.csuohio.edu::1e130dba-178f-4916-8c03-fef66396cb5a" providerId="AD" clId="Web-{79A12D5C-E0D6-87E5-C074-E348ECB53F81}" dt="2020-12-01T00:01:20.749" v="768"/>
          <ac:spMkLst>
            <pc:docMk/>
            <pc:sldMk cId="3307272477" sldId="281"/>
            <ac:spMk id="18" creationId="{B81933D1-5615-42C7-9C0B-4EB7105CCE2D}"/>
          </ac:spMkLst>
        </pc:spChg>
        <pc:spChg chg="add">
          <ac:chgData name="Mrunali Pramodbhai  Patel" userId="S::2783799@vikes.csuohio.edu::1e130dba-178f-4916-8c03-fef66396cb5a" providerId="AD" clId="Web-{79A12D5C-E0D6-87E5-C074-E348ECB53F81}" dt="2020-12-01T00:01:20.749" v="768"/>
          <ac:spMkLst>
            <pc:docMk/>
            <pc:sldMk cId="3307272477" sldId="281"/>
            <ac:spMk id="19" creationId="{19C9EAEA-39D0-4B0E-A0EB-51E7B26740B1}"/>
          </ac:spMkLst>
        </pc:spChg>
        <pc:spChg chg="add del">
          <ac:chgData name="Mrunali Pramodbhai  Patel" userId="S::2783799@vikes.csuohio.edu::1e130dba-178f-4916-8c03-fef66396cb5a" providerId="AD" clId="Web-{79A12D5C-E0D6-87E5-C074-E348ECB53F81}" dt="2020-12-01T00:01:17.217" v="767"/>
          <ac:spMkLst>
            <pc:docMk/>
            <pc:sldMk cId="3307272477" sldId="281"/>
            <ac:spMk id="20" creationId="{62542EEC-4F7C-4AE2-933E-EAC8EB3FA378}"/>
          </ac:spMkLst>
        </pc:spChg>
        <pc:spChg chg="add del">
          <ac:chgData name="Mrunali Pramodbhai  Patel" userId="S::2783799@vikes.csuohio.edu::1e130dba-178f-4916-8c03-fef66396cb5a" providerId="AD" clId="Web-{79A12D5C-E0D6-87E5-C074-E348ECB53F81}" dt="2020-12-01T00:01:17.217" v="767"/>
          <ac:spMkLst>
            <pc:docMk/>
            <pc:sldMk cId="3307272477" sldId="281"/>
            <ac:spMk id="22" creationId="{B81933D1-5615-42C7-9C0B-4EB7105CCE2D}"/>
          </ac:spMkLst>
        </pc:spChg>
        <pc:spChg chg="add del">
          <ac:chgData name="Mrunali Pramodbhai  Patel" userId="S::2783799@vikes.csuohio.edu::1e130dba-178f-4916-8c03-fef66396cb5a" providerId="AD" clId="Web-{79A12D5C-E0D6-87E5-C074-E348ECB53F81}" dt="2020-12-01T00:01:17.217" v="767"/>
          <ac:spMkLst>
            <pc:docMk/>
            <pc:sldMk cId="3307272477" sldId="281"/>
            <ac:spMk id="24" creationId="{19C9EAEA-39D0-4B0E-A0EB-51E7B26740B1}"/>
          </ac:spMkLst>
        </pc:spChg>
        <pc:spChg chg="add mod">
          <ac:chgData name="Mrunali Pramodbhai  Patel" userId="S::2783799@vikes.csuohio.edu::1e130dba-178f-4916-8c03-fef66396cb5a" providerId="AD" clId="Web-{79A12D5C-E0D6-87E5-C074-E348ECB53F81}" dt="2020-12-01T00:02:12.173" v="809" actId="14100"/>
          <ac:spMkLst>
            <pc:docMk/>
            <pc:sldMk cId="3307272477" sldId="281"/>
            <ac:spMk id="86" creationId="{8E6CF196-8F6C-4886-B0D5-90541ED993EE}"/>
          </ac:spMkLst>
        </pc:spChg>
        <pc:grpChg chg="add">
          <ac:chgData name="Mrunali Pramodbhai  Patel" userId="S::2783799@vikes.csuohio.edu::1e130dba-178f-4916-8c03-fef66396cb5a" providerId="AD" clId="Web-{79A12D5C-E0D6-87E5-C074-E348ECB53F81}" dt="2020-12-01T00:01:20.749" v="768"/>
          <ac:grpSpMkLst>
            <pc:docMk/>
            <pc:sldMk cId="3307272477" sldId="281"/>
            <ac:grpSpMk id="21" creationId="{032D8612-31EB-44CF-A1D0-14FD4C705424}"/>
          </ac:grpSpMkLst>
        </pc:grpChg>
        <pc:grpChg chg="add del">
          <ac:chgData name="Mrunali Pramodbhai  Patel" userId="S::2783799@vikes.csuohio.edu::1e130dba-178f-4916-8c03-fef66396cb5a" providerId="AD" clId="Web-{79A12D5C-E0D6-87E5-C074-E348ECB53F81}" dt="2020-12-01T00:01:17.217" v="767"/>
          <ac:grpSpMkLst>
            <pc:docMk/>
            <pc:sldMk cId="3307272477" sldId="281"/>
            <ac:grpSpMk id="26" creationId="{032D8612-31EB-44CF-A1D0-14FD4C705424}"/>
          </ac:grpSpMkLst>
        </pc:grpChg>
        <pc:graphicFrameChg chg="mod">
          <ac:chgData name="Mrunali Pramodbhai  Patel" userId="S::2783799@vikes.csuohio.edu::1e130dba-178f-4916-8c03-fef66396cb5a" providerId="AD" clId="Web-{79A12D5C-E0D6-87E5-C074-E348ECB53F81}" dt="2020-12-01T00:02:35.501" v="814" actId="14100"/>
          <ac:graphicFrameMkLst>
            <pc:docMk/>
            <pc:sldMk cId="3307272477" sldId="281"/>
            <ac:graphicFrameMk id="9" creationId="{C84AB610-81C7-4910-8F4E-3498693777A3}"/>
          </ac:graphicFrameMkLst>
        </pc:graphicFrameChg>
        <pc:picChg chg="add del">
          <ac:chgData name="Mrunali Pramodbhai  Patel" userId="S::2783799@vikes.csuohio.edu::1e130dba-178f-4916-8c03-fef66396cb5a" providerId="AD" clId="Web-{79A12D5C-E0D6-87E5-C074-E348ECB53F81}" dt="2020-12-01T00:01:20.749" v="768"/>
          <ac:picMkLst>
            <pc:docMk/>
            <pc:sldMk cId="3307272477" sldId="281"/>
            <ac:picMk id="15" creationId="{C7FF3303-6FC3-4637-A201-B4CCC1C992CF}"/>
          </ac:picMkLst>
        </pc:picChg>
      </pc:sldChg>
      <pc:sldChg chg="modSp">
        <pc:chgData name="Mrunali Pramodbhai  Patel" userId="S::2783799@vikes.csuohio.edu::1e130dba-178f-4916-8c03-fef66396cb5a" providerId="AD" clId="Web-{79A12D5C-E0D6-87E5-C074-E348ECB53F81}" dt="2020-12-01T01:01:06.833" v="2150" actId="14100"/>
        <pc:sldMkLst>
          <pc:docMk/>
          <pc:sldMk cId="2836160367" sldId="282"/>
        </pc:sldMkLst>
        <pc:spChg chg="mod">
          <ac:chgData name="Mrunali Pramodbhai  Patel" userId="S::2783799@vikes.csuohio.edu::1e130dba-178f-4916-8c03-fef66396cb5a" providerId="AD" clId="Web-{79A12D5C-E0D6-87E5-C074-E348ECB53F81}" dt="2020-12-01T01:01:02.286" v="2149" actId="14100"/>
          <ac:spMkLst>
            <pc:docMk/>
            <pc:sldMk cId="2836160367" sldId="282"/>
            <ac:spMk id="2" creationId="{953DACF5-41E2-4BCD-8876-63E7F6799FCE}"/>
          </ac:spMkLst>
        </pc:spChg>
        <pc:graphicFrameChg chg="mod">
          <ac:chgData name="Mrunali Pramodbhai  Patel" userId="S::2783799@vikes.csuohio.edu::1e130dba-178f-4916-8c03-fef66396cb5a" providerId="AD" clId="Web-{79A12D5C-E0D6-87E5-C074-E348ECB53F81}" dt="2020-12-01T01:01:06.833" v="2150" actId="14100"/>
          <ac:graphicFrameMkLst>
            <pc:docMk/>
            <pc:sldMk cId="2836160367" sldId="282"/>
            <ac:graphicFrameMk id="5" creationId="{74D4DE73-7EF6-4695-8925-9EB87F3B2328}"/>
          </ac:graphicFrameMkLst>
        </pc:graphicFrameChg>
      </pc:sldChg>
      <pc:sldChg chg="addSp delSp modSp">
        <pc:chgData name="Mrunali Pramodbhai  Patel" userId="S::2783799@vikes.csuohio.edu::1e130dba-178f-4916-8c03-fef66396cb5a" providerId="AD" clId="Web-{79A12D5C-E0D6-87E5-C074-E348ECB53F81}" dt="2020-12-01T00:43:05.867" v="1307" actId="20577"/>
        <pc:sldMkLst>
          <pc:docMk/>
          <pc:sldMk cId="2333032449" sldId="284"/>
        </pc:sldMkLst>
        <pc:spChg chg="mod">
          <ac:chgData name="Mrunali Pramodbhai  Patel" userId="S::2783799@vikes.csuohio.edu::1e130dba-178f-4916-8c03-fef66396cb5a" providerId="AD" clId="Web-{79A12D5C-E0D6-87E5-C074-E348ECB53F81}" dt="2020-12-01T00:43:05.867" v="1307" actId="20577"/>
          <ac:spMkLst>
            <pc:docMk/>
            <pc:sldMk cId="2333032449" sldId="284"/>
            <ac:spMk id="2" creationId="{83F348E0-BCD9-4499-BC4F-C7D7DA729FEB}"/>
          </ac:spMkLst>
        </pc:spChg>
        <pc:spChg chg="add del mod">
          <ac:chgData name="Mrunali Pramodbhai  Patel" userId="S::2783799@vikes.csuohio.edu::1e130dba-178f-4916-8c03-fef66396cb5a" providerId="AD" clId="Web-{79A12D5C-E0D6-87E5-C074-E348ECB53F81}" dt="2020-12-01T00:41:37.784" v="1254"/>
          <ac:spMkLst>
            <pc:docMk/>
            <pc:sldMk cId="2333032449" sldId="284"/>
            <ac:spMk id="3" creationId="{9BFE4A7F-91D0-4A4E-A458-CC9B5D9DFF57}"/>
          </ac:spMkLst>
        </pc:spChg>
        <pc:spChg chg="add del mod">
          <ac:chgData name="Mrunali Pramodbhai  Patel" userId="S::2783799@vikes.csuohio.edu::1e130dba-178f-4916-8c03-fef66396cb5a" providerId="AD" clId="Web-{79A12D5C-E0D6-87E5-C074-E348ECB53F81}" dt="2020-12-01T00:41:50.925" v="1258"/>
          <ac:spMkLst>
            <pc:docMk/>
            <pc:sldMk cId="2333032449" sldId="284"/>
            <ac:spMk id="6" creationId="{815B1928-DB89-43A1-835B-2C050AF98984}"/>
          </ac:spMkLst>
        </pc:spChg>
        <pc:spChg chg="add mod">
          <ac:chgData name="Mrunali Pramodbhai  Patel" userId="S::2783799@vikes.csuohio.edu::1e130dba-178f-4916-8c03-fef66396cb5a" providerId="AD" clId="Web-{79A12D5C-E0D6-87E5-C074-E348ECB53F81}" dt="2020-12-01T00:42:54.100" v="1304" actId="20577"/>
          <ac:spMkLst>
            <pc:docMk/>
            <pc:sldMk cId="2333032449" sldId="284"/>
            <ac:spMk id="7" creationId="{323DF2F6-9683-4AC4-BE7B-2CFAB6F9F4D7}"/>
          </ac:spMkLst>
        </pc:spChg>
        <pc:graphicFrameChg chg="mod">
          <ac:chgData name="Mrunali Pramodbhai  Patel" userId="S::2783799@vikes.csuohio.edu::1e130dba-178f-4916-8c03-fef66396cb5a" providerId="AD" clId="Web-{79A12D5C-E0D6-87E5-C074-E348ECB53F81}" dt="2020-12-01T00:40:29.389" v="1207" actId="14100"/>
          <ac:graphicFrameMkLst>
            <pc:docMk/>
            <pc:sldMk cId="2333032449" sldId="284"/>
            <ac:graphicFrameMk id="4" creationId="{C6BD2A4C-02C4-4003-A126-27A265DF83C9}"/>
          </ac:graphicFrameMkLst>
        </pc:graphicFrameChg>
        <pc:graphicFrameChg chg="mod">
          <ac:chgData name="Mrunali Pramodbhai  Patel" userId="S::2783799@vikes.csuohio.edu::1e130dba-178f-4916-8c03-fef66396cb5a" providerId="AD" clId="Web-{79A12D5C-E0D6-87E5-C074-E348ECB53F81}" dt="2020-12-01T00:40:22.951" v="1205" actId="14100"/>
          <ac:graphicFrameMkLst>
            <pc:docMk/>
            <pc:sldMk cId="2333032449" sldId="284"/>
            <ac:graphicFrameMk id="5" creationId="{81DFA7B0-6FD7-4BB2-A8FA-6F07AEFE695D}"/>
          </ac:graphicFrameMkLst>
        </pc:graphicFrameChg>
      </pc:sldChg>
      <pc:sldChg chg="modSp">
        <pc:chgData name="Mrunali Pramodbhai  Patel" userId="S::2783799@vikes.csuohio.edu::1e130dba-178f-4916-8c03-fef66396cb5a" providerId="AD" clId="Web-{79A12D5C-E0D6-87E5-C074-E348ECB53F81}" dt="2020-11-30T21:46:13.942" v="1" actId="14100"/>
        <pc:sldMkLst>
          <pc:docMk/>
          <pc:sldMk cId="2371235732" sldId="285"/>
        </pc:sldMkLst>
        <pc:spChg chg="mod">
          <ac:chgData name="Mrunali Pramodbhai  Patel" userId="S::2783799@vikes.csuohio.edu::1e130dba-178f-4916-8c03-fef66396cb5a" providerId="AD" clId="Web-{79A12D5C-E0D6-87E5-C074-E348ECB53F81}" dt="2020-11-30T21:46:13.942" v="1" actId="14100"/>
          <ac:spMkLst>
            <pc:docMk/>
            <pc:sldMk cId="2371235732" sldId="285"/>
            <ac:spMk id="6" creationId="{E121B96C-BDBE-4475-93CD-B0AAABF26350}"/>
          </ac:spMkLst>
        </pc:spChg>
      </pc:sldChg>
      <pc:sldChg chg="modSp">
        <pc:chgData name="Mrunali Pramodbhai  Patel" userId="S::2783799@vikes.csuohio.edu::1e130dba-178f-4916-8c03-fef66396cb5a" providerId="AD" clId="Web-{79A12D5C-E0D6-87E5-C074-E348ECB53F81}" dt="2020-12-01T00:53:48.996" v="1719" actId="20577"/>
        <pc:sldMkLst>
          <pc:docMk/>
          <pc:sldMk cId="2121537683" sldId="286"/>
        </pc:sldMkLst>
        <pc:spChg chg="mod">
          <ac:chgData name="Mrunali Pramodbhai  Patel" userId="S::2783799@vikes.csuohio.edu::1e130dba-178f-4916-8c03-fef66396cb5a" providerId="AD" clId="Web-{79A12D5C-E0D6-87E5-C074-E348ECB53F81}" dt="2020-12-01T00:53:48.996" v="1719" actId="20577"/>
          <ac:spMkLst>
            <pc:docMk/>
            <pc:sldMk cId="2121537683" sldId="286"/>
            <ac:spMk id="2" creationId="{70820459-CE88-42C9-9947-2AC726DD3831}"/>
          </ac:spMkLst>
        </pc:spChg>
      </pc:sldChg>
      <pc:sldChg chg="delSp modSp mod setBg setClrOvrMap">
        <pc:chgData name="Mrunali Pramodbhai  Patel" userId="S::2783799@vikes.csuohio.edu::1e130dba-178f-4916-8c03-fef66396cb5a" providerId="AD" clId="Web-{79A12D5C-E0D6-87E5-C074-E348ECB53F81}" dt="2020-12-01T01:06:08.475" v="2362"/>
        <pc:sldMkLst>
          <pc:docMk/>
          <pc:sldMk cId="2742197637" sldId="287"/>
        </pc:sldMkLst>
        <pc:spChg chg="del">
          <ac:chgData name="Mrunali Pramodbhai  Patel" userId="S::2783799@vikes.csuohio.edu::1e130dba-178f-4916-8c03-fef66396cb5a" providerId="AD" clId="Web-{79A12D5C-E0D6-87E5-C074-E348ECB53F81}" dt="2020-12-01T01:06:08.475" v="2362"/>
          <ac:spMkLst>
            <pc:docMk/>
            <pc:sldMk cId="2742197637" sldId="287"/>
            <ac:spMk id="135" creationId="{42A4FC2C-047E-45A5-965D-8E1E3BF09BC6}"/>
          </ac:spMkLst>
        </pc:spChg>
        <pc:picChg chg="mod">
          <ac:chgData name="Mrunali Pramodbhai  Patel" userId="S::2783799@vikes.csuohio.edu::1e130dba-178f-4916-8c03-fef66396cb5a" providerId="AD" clId="Web-{79A12D5C-E0D6-87E5-C074-E348ECB53F81}" dt="2020-12-01T01:06:08.475" v="2362"/>
          <ac:picMkLst>
            <pc:docMk/>
            <pc:sldMk cId="2742197637" sldId="287"/>
            <ac:picMk id="2050" creationId="{636D30F3-F15C-48D3-96C7-D94D185D4522}"/>
          </ac:picMkLst>
        </pc:picChg>
      </pc:sldChg>
      <pc:sldChg chg="modSp">
        <pc:chgData name="Mrunali Pramodbhai  Patel" userId="S::2783799@vikes.csuohio.edu::1e130dba-178f-4916-8c03-fef66396cb5a" providerId="AD" clId="Web-{79A12D5C-E0D6-87E5-C074-E348ECB53F81}" dt="2020-12-01T00:59:36.359" v="2029"/>
        <pc:sldMkLst>
          <pc:docMk/>
          <pc:sldMk cId="311214724" sldId="288"/>
        </pc:sldMkLst>
        <pc:spChg chg="mod">
          <ac:chgData name="Mrunali Pramodbhai  Patel" userId="S::2783799@vikes.csuohio.edu::1e130dba-178f-4916-8c03-fef66396cb5a" providerId="AD" clId="Web-{79A12D5C-E0D6-87E5-C074-E348ECB53F81}" dt="2020-12-01T00:48:43.495" v="1565" actId="20577"/>
          <ac:spMkLst>
            <pc:docMk/>
            <pc:sldMk cId="311214724" sldId="288"/>
            <ac:spMk id="2" creationId="{4402D4FD-0BA2-49D4-96EB-BA09C314E53E}"/>
          </ac:spMkLst>
        </pc:spChg>
        <pc:graphicFrameChg chg="mod modGraphic">
          <ac:chgData name="Mrunali Pramodbhai  Patel" userId="S::2783799@vikes.csuohio.edu::1e130dba-178f-4916-8c03-fef66396cb5a" providerId="AD" clId="Web-{79A12D5C-E0D6-87E5-C074-E348ECB53F81}" dt="2020-12-01T00:59:36.359" v="2029"/>
          <ac:graphicFrameMkLst>
            <pc:docMk/>
            <pc:sldMk cId="311214724" sldId="288"/>
            <ac:graphicFrameMk id="5" creationId="{D1318A66-DB2D-4B11-BF4A-E8D2320F9F9B}"/>
          </ac:graphicFrameMkLst>
        </pc:graphicFrameChg>
      </pc:sldChg>
      <pc:sldChg chg="modSp">
        <pc:chgData name="Mrunali Pramodbhai  Patel" userId="S::2783799@vikes.csuohio.edu::1e130dba-178f-4916-8c03-fef66396cb5a" providerId="AD" clId="Web-{79A12D5C-E0D6-87E5-C074-E348ECB53F81}" dt="2020-12-01T01:03:12.121" v="2322" actId="20577"/>
        <pc:sldMkLst>
          <pc:docMk/>
          <pc:sldMk cId="2535490523" sldId="290"/>
        </pc:sldMkLst>
        <pc:spChg chg="mod">
          <ac:chgData name="Mrunali Pramodbhai  Patel" userId="S::2783799@vikes.csuohio.edu::1e130dba-178f-4916-8c03-fef66396cb5a" providerId="AD" clId="Web-{79A12D5C-E0D6-87E5-C074-E348ECB53F81}" dt="2020-12-01T00:00:22.825" v="763" actId="20577"/>
          <ac:spMkLst>
            <pc:docMk/>
            <pc:sldMk cId="2535490523" sldId="290"/>
            <ac:spMk id="2" creationId="{CA2E3049-03A0-4F7D-987B-924CC0066E7E}"/>
          </ac:spMkLst>
        </pc:spChg>
        <pc:spChg chg="mod">
          <ac:chgData name="Mrunali Pramodbhai  Patel" userId="S::2783799@vikes.csuohio.edu::1e130dba-178f-4916-8c03-fef66396cb5a" providerId="AD" clId="Web-{79A12D5C-E0D6-87E5-C074-E348ECB53F81}" dt="2020-11-30T23:59:29.667" v="719" actId="20577"/>
          <ac:spMkLst>
            <pc:docMk/>
            <pc:sldMk cId="2535490523" sldId="290"/>
            <ac:spMk id="4" creationId="{D07DB012-54B4-496E-8BA2-9272CACF0D14}"/>
          </ac:spMkLst>
        </pc:spChg>
        <pc:spChg chg="mod">
          <ac:chgData name="Mrunali Pramodbhai  Patel" userId="S::2783799@vikes.csuohio.edu::1e130dba-178f-4916-8c03-fef66396cb5a" providerId="AD" clId="Web-{79A12D5C-E0D6-87E5-C074-E348ECB53F81}" dt="2020-11-30T23:59:20.901" v="716" actId="20577"/>
          <ac:spMkLst>
            <pc:docMk/>
            <pc:sldMk cId="2535490523" sldId="290"/>
            <ac:spMk id="11" creationId="{7D103605-25F8-45C3-9822-6E904EF237B8}"/>
          </ac:spMkLst>
        </pc:spChg>
        <pc:spChg chg="mod">
          <ac:chgData name="Mrunali Pramodbhai  Patel" userId="S::2783799@vikes.csuohio.edu::1e130dba-178f-4916-8c03-fef66396cb5a" providerId="AD" clId="Web-{79A12D5C-E0D6-87E5-C074-E348ECB53F81}" dt="2020-12-01T01:03:12.121" v="2322" actId="20577"/>
          <ac:spMkLst>
            <pc:docMk/>
            <pc:sldMk cId="2535490523" sldId="290"/>
            <ac:spMk id="12" creationId="{6AD021AC-B17F-4179-9A4D-5D6DC0C12071}"/>
          </ac:spMkLst>
        </pc:spChg>
        <pc:spChg chg="mod">
          <ac:chgData name="Mrunali Pramodbhai  Patel" userId="S::2783799@vikes.csuohio.edu::1e130dba-178f-4916-8c03-fef66396cb5a" providerId="AD" clId="Web-{79A12D5C-E0D6-87E5-C074-E348ECB53F81}" dt="2020-12-01T01:02:59.121" v="2316" actId="20577"/>
          <ac:spMkLst>
            <pc:docMk/>
            <pc:sldMk cId="2535490523" sldId="290"/>
            <ac:spMk id="13" creationId="{C6E17EDC-B971-4680-8C43-5745B486C2A2}"/>
          </ac:spMkLst>
        </pc:spChg>
        <pc:spChg chg="mod">
          <ac:chgData name="Mrunali Pramodbhai  Patel" userId="S::2783799@vikes.csuohio.edu::1e130dba-178f-4916-8c03-fef66396cb5a" providerId="AD" clId="Web-{79A12D5C-E0D6-87E5-C074-E348ECB53F81}" dt="2020-12-01T01:03:06.012" v="2319" actId="20577"/>
          <ac:spMkLst>
            <pc:docMk/>
            <pc:sldMk cId="2535490523" sldId="290"/>
            <ac:spMk id="14" creationId="{0B28190D-A9C0-4AC8-870D-A52EC38CC1FE}"/>
          </ac:spMkLst>
        </pc:spChg>
        <pc:cxnChg chg="mod">
          <ac:chgData name="Mrunali Pramodbhai  Patel" userId="S::2783799@vikes.csuohio.edu::1e130dba-178f-4916-8c03-fef66396cb5a" providerId="AD" clId="Web-{79A12D5C-E0D6-87E5-C074-E348ECB53F81}" dt="2020-11-30T23:58:59.462" v="715" actId="1076"/>
          <ac:cxnSpMkLst>
            <pc:docMk/>
            <pc:sldMk cId="2535490523" sldId="290"/>
            <ac:cxnSpMk id="10" creationId="{2C5A298F-A770-4302-9035-4F7198CD0A34}"/>
          </ac:cxnSpMkLst>
        </pc:cxnChg>
      </pc:sldChg>
      <pc:sldChg chg="modSp">
        <pc:chgData name="Mrunali Pramodbhai  Patel" userId="S::2783799@vikes.csuohio.edu::1e130dba-178f-4916-8c03-fef66396cb5a" providerId="AD" clId="Web-{79A12D5C-E0D6-87E5-C074-E348ECB53F81}" dt="2020-12-01T01:05:07.847" v="2357" actId="20577"/>
        <pc:sldMkLst>
          <pc:docMk/>
          <pc:sldMk cId="1663187448" sldId="292"/>
        </pc:sldMkLst>
        <pc:spChg chg="mod">
          <ac:chgData name="Mrunali Pramodbhai  Patel" userId="S::2783799@vikes.csuohio.edu::1e130dba-178f-4916-8c03-fef66396cb5a" providerId="AD" clId="Web-{79A12D5C-E0D6-87E5-C074-E348ECB53F81}" dt="2020-11-30T23:50:04.006" v="559" actId="20577"/>
          <ac:spMkLst>
            <pc:docMk/>
            <pc:sldMk cId="1663187448" sldId="292"/>
            <ac:spMk id="2" creationId="{EB716928-8AC8-4E6C-A9C4-E7C3C37744F4}"/>
          </ac:spMkLst>
        </pc:spChg>
        <pc:spChg chg="mod">
          <ac:chgData name="Mrunali Pramodbhai  Patel" userId="S::2783799@vikes.csuohio.edu::1e130dba-178f-4916-8c03-fef66396cb5a" providerId="AD" clId="Web-{79A12D5C-E0D6-87E5-C074-E348ECB53F81}" dt="2020-12-01T01:04:06.218" v="2336" actId="20577"/>
          <ac:spMkLst>
            <pc:docMk/>
            <pc:sldMk cId="1663187448" sldId="292"/>
            <ac:spMk id="8" creationId="{F768D4EE-6859-473E-9A2E-4801ECAAE6F6}"/>
          </ac:spMkLst>
        </pc:spChg>
        <pc:spChg chg="mod">
          <ac:chgData name="Mrunali Pramodbhai  Patel" userId="S::2783799@vikes.csuohio.edu::1e130dba-178f-4916-8c03-fef66396cb5a" providerId="AD" clId="Web-{79A12D5C-E0D6-87E5-C074-E348ECB53F81}" dt="2020-12-01T01:04:14.172" v="2339" actId="20577"/>
          <ac:spMkLst>
            <pc:docMk/>
            <pc:sldMk cId="1663187448" sldId="292"/>
            <ac:spMk id="9" creationId="{2B99ECC4-BBD8-403F-B2DF-95E4C36332A5}"/>
          </ac:spMkLst>
        </pc:spChg>
        <pc:spChg chg="mod">
          <ac:chgData name="Mrunali Pramodbhai  Patel" userId="S::2783799@vikes.csuohio.edu::1e130dba-178f-4916-8c03-fef66396cb5a" providerId="AD" clId="Web-{79A12D5C-E0D6-87E5-C074-E348ECB53F81}" dt="2020-12-01T01:04:43.564" v="2348" actId="20577"/>
          <ac:spMkLst>
            <pc:docMk/>
            <pc:sldMk cId="1663187448" sldId="292"/>
            <ac:spMk id="10" creationId="{AEE5A155-942D-447B-8959-C89054653827}"/>
          </ac:spMkLst>
        </pc:spChg>
        <pc:spChg chg="mod">
          <ac:chgData name="Mrunali Pramodbhai  Patel" userId="S::2783799@vikes.csuohio.edu::1e130dba-178f-4916-8c03-fef66396cb5a" providerId="AD" clId="Web-{79A12D5C-E0D6-87E5-C074-E348ECB53F81}" dt="2020-12-01T01:04:58.096" v="2354" actId="20577"/>
          <ac:spMkLst>
            <pc:docMk/>
            <pc:sldMk cId="1663187448" sldId="292"/>
            <ac:spMk id="11" creationId="{53656BA9-C099-4DBD-B376-8A9388436F7B}"/>
          </ac:spMkLst>
        </pc:spChg>
        <pc:spChg chg="mod">
          <ac:chgData name="Mrunali Pramodbhai  Patel" userId="S::2783799@vikes.csuohio.edu::1e130dba-178f-4916-8c03-fef66396cb5a" providerId="AD" clId="Web-{79A12D5C-E0D6-87E5-C074-E348ECB53F81}" dt="2020-12-01T01:04:22.610" v="2342" actId="20577"/>
          <ac:spMkLst>
            <pc:docMk/>
            <pc:sldMk cId="1663187448" sldId="292"/>
            <ac:spMk id="15" creationId="{FBE5F202-98B3-42BF-9AE6-7AE596DDED5B}"/>
          </ac:spMkLst>
        </pc:spChg>
        <pc:spChg chg="mod">
          <ac:chgData name="Mrunali Pramodbhai  Patel" userId="S::2783799@vikes.csuohio.edu::1e130dba-178f-4916-8c03-fef66396cb5a" providerId="AD" clId="Web-{79A12D5C-E0D6-87E5-C074-E348ECB53F81}" dt="2020-12-01T01:04:32.454" v="2345" actId="20577"/>
          <ac:spMkLst>
            <pc:docMk/>
            <pc:sldMk cId="1663187448" sldId="292"/>
            <ac:spMk id="17" creationId="{656973A2-EEA3-44F8-B299-0BCAEA6D4F58}"/>
          </ac:spMkLst>
        </pc:spChg>
        <pc:spChg chg="mod">
          <ac:chgData name="Mrunali Pramodbhai  Patel" userId="S::2783799@vikes.csuohio.edu::1e130dba-178f-4916-8c03-fef66396cb5a" providerId="AD" clId="Web-{79A12D5C-E0D6-87E5-C074-E348ECB53F81}" dt="2020-12-01T01:04:51.143" v="2351" actId="20577"/>
          <ac:spMkLst>
            <pc:docMk/>
            <pc:sldMk cId="1663187448" sldId="292"/>
            <ac:spMk id="21" creationId="{84ABB73B-A288-49F7-A5F1-6E320C528AA9}"/>
          </ac:spMkLst>
        </pc:spChg>
        <pc:spChg chg="mod">
          <ac:chgData name="Mrunali Pramodbhai  Patel" userId="S::2783799@vikes.csuohio.edu::1e130dba-178f-4916-8c03-fef66396cb5a" providerId="AD" clId="Web-{79A12D5C-E0D6-87E5-C074-E348ECB53F81}" dt="2020-12-01T01:05:07.847" v="2357" actId="20577"/>
          <ac:spMkLst>
            <pc:docMk/>
            <pc:sldMk cId="1663187448" sldId="292"/>
            <ac:spMk id="23" creationId="{F6A1967A-321B-49FC-8D3F-434CE5C2C084}"/>
          </ac:spMkLst>
        </pc:spChg>
        <pc:spChg chg="mod">
          <ac:chgData name="Mrunali Pramodbhai  Patel" userId="S::2783799@vikes.csuohio.edu::1e130dba-178f-4916-8c03-fef66396cb5a" providerId="AD" clId="Web-{79A12D5C-E0D6-87E5-C074-E348ECB53F81}" dt="2020-12-01T01:03:39.154" v="2327" actId="20577"/>
          <ac:spMkLst>
            <pc:docMk/>
            <pc:sldMk cId="1663187448" sldId="292"/>
            <ac:spMk id="33" creationId="{76E3424D-2C38-4A21-B0FC-E8EE954CDF1C}"/>
          </ac:spMkLst>
        </pc:spChg>
        <pc:spChg chg="mod">
          <ac:chgData name="Mrunali Pramodbhai  Patel" userId="S::2783799@vikes.csuohio.edu::1e130dba-178f-4916-8c03-fef66396cb5a" providerId="AD" clId="Web-{79A12D5C-E0D6-87E5-C074-E348ECB53F81}" dt="2020-12-01T01:03:47.514" v="2330" actId="20577"/>
          <ac:spMkLst>
            <pc:docMk/>
            <pc:sldMk cId="1663187448" sldId="292"/>
            <ac:spMk id="34" creationId="{A6D76CB7-E1AB-4679-96ED-8256494F6D85}"/>
          </ac:spMkLst>
        </pc:spChg>
        <pc:spChg chg="mod">
          <ac:chgData name="Mrunali Pramodbhai  Patel" userId="S::2783799@vikes.csuohio.edu::1e130dba-178f-4916-8c03-fef66396cb5a" providerId="AD" clId="Web-{79A12D5C-E0D6-87E5-C074-E348ECB53F81}" dt="2020-12-01T01:03:55.499" v="2333" actId="20577"/>
          <ac:spMkLst>
            <pc:docMk/>
            <pc:sldMk cId="1663187448" sldId="292"/>
            <ac:spMk id="35" creationId="{28F24681-2FC8-49D7-B7DC-B344A56A41CF}"/>
          </ac:spMkLst>
        </pc:spChg>
      </pc:sldChg>
    </pc:docChg>
  </pc:docChgLst>
  <pc:docChgLst>
    <pc:chgData name="Mrunali Pramodbhai  Patel" userId="S::2783799@vikes.csuohio.edu::1e130dba-178f-4916-8c03-fef66396cb5a" providerId="AD" clId="Web-{1F6E7A16-AB40-CAAF-CB27-9EC9815A9948}"/>
    <pc:docChg chg="delSld">
      <pc:chgData name="Mrunali Pramodbhai  Patel" userId="S::2783799@vikes.csuohio.edu::1e130dba-178f-4916-8c03-fef66396cb5a" providerId="AD" clId="Web-{1F6E7A16-AB40-CAAF-CB27-9EC9815A9948}" dt="2020-12-02T20:59:43.599" v="0"/>
      <pc:docMkLst>
        <pc:docMk/>
      </pc:docMkLst>
      <pc:sldChg chg="del">
        <pc:chgData name="Mrunali Pramodbhai  Patel" userId="S::2783799@vikes.csuohio.edu::1e130dba-178f-4916-8c03-fef66396cb5a" providerId="AD" clId="Web-{1F6E7A16-AB40-CAAF-CB27-9EC9815A9948}" dt="2020-12-02T20:59:43.599" v="0"/>
        <pc:sldMkLst>
          <pc:docMk/>
          <pc:sldMk cId="1138601960" sldId="266"/>
        </pc:sldMkLst>
      </pc:sldChg>
    </pc:docChg>
  </pc:docChgLst>
  <pc:docChgLst>
    <pc:chgData name="Mrunali Pramodbhai  Patel" userId="S::2783799@vikes.csuohio.edu::1e130dba-178f-4916-8c03-fef66396cb5a" providerId="AD" clId="Web-{C3D129C5-C5E7-BF64-CDA6-AAF974ADB1B1}"/>
    <pc:docChg chg="modSld">
      <pc:chgData name="Mrunali Pramodbhai  Patel" userId="S::2783799@vikes.csuohio.edu::1e130dba-178f-4916-8c03-fef66396cb5a" providerId="AD" clId="Web-{C3D129C5-C5E7-BF64-CDA6-AAF974ADB1B1}" dt="2020-11-30T01:48:55.210" v="21"/>
      <pc:docMkLst>
        <pc:docMk/>
      </pc:docMkLst>
      <pc:sldChg chg="modSp">
        <pc:chgData name="Mrunali Pramodbhai  Patel" userId="S::2783799@vikes.csuohio.edu::1e130dba-178f-4916-8c03-fef66396cb5a" providerId="AD" clId="Web-{C3D129C5-C5E7-BF64-CDA6-AAF974ADB1B1}" dt="2020-11-30T01:22:08.912" v="17" actId="14100"/>
        <pc:sldMkLst>
          <pc:docMk/>
          <pc:sldMk cId="4069752862" sldId="256"/>
        </pc:sldMkLst>
        <pc:spChg chg="mod">
          <ac:chgData name="Mrunali Pramodbhai  Patel" userId="S::2783799@vikes.csuohio.edu::1e130dba-178f-4916-8c03-fef66396cb5a" providerId="AD" clId="Web-{C3D129C5-C5E7-BF64-CDA6-AAF974ADB1B1}" dt="2020-11-30T01:22:08.912" v="17" actId="14100"/>
          <ac:spMkLst>
            <pc:docMk/>
            <pc:sldMk cId="4069752862" sldId="256"/>
            <ac:spMk id="3" creationId="{0520F9D1-DA88-4699-B135-6BD0FA6AFE26}"/>
          </ac:spMkLst>
        </pc:spChg>
      </pc:sldChg>
      <pc:sldChg chg="modSp">
        <pc:chgData name="Mrunali Pramodbhai  Patel" userId="S::2783799@vikes.csuohio.edu::1e130dba-178f-4916-8c03-fef66396cb5a" providerId="AD" clId="Web-{C3D129C5-C5E7-BF64-CDA6-AAF974ADB1B1}" dt="2020-11-30T01:46:45.102" v="19"/>
        <pc:sldMkLst>
          <pc:docMk/>
          <pc:sldMk cId="3400315354" sldId="262"/>
        </pc:sldMkLst>
        <pc:graphicFrameChg chg="mod modGraphic">
          <ac:chgData name="Mrunali Pramodbhai  Patel" userId="S::2783799@vikes.csuohio.edu::1e130dba-178f-4916-8c03-fef66396cb5a" providerId="AD" clId="Web-{C3D129C5-C5E7-BF64-CDA6-AAF974ADB1B1}" dt="2020-11-30T01:46:45.102" v="19"/>
          <ac:graphicFrameMkLst>
            <pc:docMk/>
            <pc:sldMk cId="3400315354" sldId="262"/>
            <ac:graphicFrameMk id="4" creationId="{A09BB9AE-5807-4078-8F86-660AD63F46C0}"/>
          </ac:graphicFrameMkLst>
        </pc:graphicFrameChg>
      </pc:sldChg>
      <pc:sldChg chg="modSp">
        <pc:chgData name="Mrunali Pramodbhai  Patel" userId="S::2783799@vikes.csuohio.edu::1e130dba-178f-4916-8c03-fef66396cb5a" providerId="AD" clId="Web-{C3D129C5-C5E7-BF64-CDA6-AAF974ADB1B1}" dt="2020-11-30T01:20:38.647" v="16" actId="14100"/>
        <pc:sldMkLst>
          <pc:docMk/>
          <pc:sldMk cId="1138601960" sldId="266"/>
        </pc:sldMkLst>
        <pc:picChg chg="mod">
          <ac:chgData name="Mrunali Pramodbhai  Patel" userId="S::2783799@vikes.csuohio.edu::1e130dba-178f-4916-8c03-fef66396cb5a" providerId="AD" clId="Web-{C3D129C5-C5E7-BF64-CDA6-AAF974ADB1B1}" dt="2020-11-30T01:20:28.257" v="13" actId="1076"/>
          <ac:picMkLst>
            <pc:docMk/>
            <pc:sldMk cId="1138601960" sldId="266"/>
            <ac:picMk id="6149" creationId="{846AB0BF-8401-4F6C-8EBA-B08A04C5168C}"/>
          </ac:picMkLst>
        </pc:picChg>
        <pc:picChg chg="mod">
          <ac:chgData name="Mrunali Pramodbhai  Patel" userId="S::2783799@vikes.csuohio.edu::1e130dba-178f-4916-8c03-fef66396cb5a" providerId="AD" clId="Web-{C3D129C5-C5E7-BF64-CDA6-AAF974ADB1B1}" dt="2020-11-30T01:20:38.647" v="16" actId="14100"/>
          <ac:picMkLst>
            <pc:docMk/>
            <pc:sldMk cId="1138601960" sldId="266"/>
            <ac:picMk id="6150" creationId="{3623CB95-F576-4B2C-BE37-23DC0255EC65}"/>
          </ac:picMkLst>
        </pc:picChg>
      </pc:sldChg>
      <pc:sldChg chg="modSp">
        <pc:chgData name="Mrunali Pramodbhai  Patel" userId="S::2783799@vikes.csuohio.edu::1e130dba-178f-4916-8c03-fef66396cb5a" providerId="AD" clId="Web-{C3D129C5-C5E7-BF64-CDA6-AAF974ADB1B1}" dt="2020-11-30T01:48:55.210" v="21"/>
        <pc:sldMkLst>
          <pc:docMk/>
          <pc:sldMk cId="1704361268" sldId="268"/>
        </pc:sldMkLst>
        <pc:graphicFrameChg chg="mod modGraphic">
          <ac:chgData name="Mrunali Pramodbhai  Patel" userId="S::2783799@vikes.csuohio.edu::1e130dba-178f-4916-8c03-fef66396cb5a" providerId="AD" clId="Web-{C3D129C5-C5E7-BF64-CDA6-AAF974ADB1B1}" dt="2020-11-30T01:48:55.210" v="21"/>
          <ac:graphicFrameMkLst>
            <pc:docMk/>
            <pc:sldMk cId="1704361268" sldId="268"/>
            <ac:graphicFrameMk id="7" creationId="{DD3369CA-EC43-49CC-B44A-AC6C39C6C088}"/>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_117_8489E893.xlsx"/></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adr101"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c:spPr>
            <c:extLst>
              <c:ext xmlns:c16="http://schemas.microsoft.com/office/drawing/2014/chart" uri="{C3380CC4-5D6E-409C-BE32-E72D297353CC}">
                <c16:uniqueId val="{00000001-FD59-48D6-B9A1-06408797421D}"/>
              </c:ext>
            </c:extLst>
          </c:dPt>
          <c:dPt>
            <c:idx val="1"/>
            <c:bubble3D val="0"/>
            <c:spPr>
              <a:solidFill>
                <a:schemeClr val="accent3"/>
              </a:solidFill>
            </c:spPr>
            <c:extLst>
              <c:ext xmlns:c16="http://schemas.microsoft.com/office/drawing/2014/chart" uri="{C3380CC4-5D6E-409C-BE32-E72D297353CC}">
                <c16:uniqueId val="{00000003-FD59-48D6-B9A1-06408797421D}"/>
              </c:ext>
            </c:extLst>
          </c:dPt>
          <c:dPt>
            <c:idx val="2"/>
            <c:bubble3D val="0"/>
            <c:spPr>
              <a:solidFill>
                <a:schemeClr val="accent1"/>
              </a:solidFill>
            </c:spPr>
            <c:extLst>
              <c:ext xmlns:c16="http://schemas.microsoft.com/office/drawing/2014/chart" uri="{C3380CC4-5D6E-409C-BE32-E72D297353CC}">
                <c16:uniqueId val="{00000005-FD59-48D6-B9A1-06408797421D}"/>
              </c:ext>
            </c:extLst>
          </c:dPt>
          <c:dPt>
            <c:idx val="3"/>
            <c:bubble3D val="0"/>
            <c:spPr>
              <a:solidFill>
                <a:schemeClr val="bg1">
                  <a:lumMod val="75000"/>
                </a:schemeClr>
              </a:solidFill>
            </c:spPr>
            <c:extLst>
              <c:ext xmlns:c16="http://schemas.microsoft.com/office/drawing/2014/chart" uri="{C3380CC4-5D6E-409C-BE32-E72D297353CC}">
                <c16:uniqueId val="{00000007-FD59-48D6-B9A1-06408797421D}"/>
              </c:ext>
            </c:extLst>
          </c:dPt>
          <c:cat>
            <c:strRef>
              <c:f>Sheet1!$A$2:$A$4</c:f>
              <c:strCache>
                <c:ptCount val="3"/>
                <c:pt idx="0">
                  <c:v>1st Qtr</c:v>
                </c:pt>
                <c:pt idx="1">
                  <c:v>2nd Qtr</c:v>
                </c:pt>
                <c:pt idx="2">
                  <c:v>3rd Qtr</c:v>
                </c:pt>
              </c:strCache>
            </c:strRef>
          </c:cat>
          <c:val>
            <c:numRef>
              <c:f>Sheet1!$B$2:$B$4</c:f>
              <c:numCache>
                <c:formatCode>0%</c:formatCode>
                <c:ptCount val="3"/>
                <c:pt idx="0">
                  <c:v>0.4</c:v>
                </c:pt>
                <c:pt idx="1">
                  <c:v>0.2</c:v>
                </c:pt>
                <c:pt idx="2">
                  <c:v>0.4</c:v>
                </c:pt>
              </c:numCache>
            </c:numRef>
          </c:val>
          <c:extLst>
            <c:ext xmlns:c16="http://schemas.microsoft.com/office/drawing/2014/chart" uri="{C3380CC4-5D6E-409C-BE32-E72D297353CC}">
              <c16:uniqueId val="{00000008-FD59-48D6-B9A1-06408797421D}"/>
            </c:ext>
          </c:extLst>
        </c:ser>
        <c:dLbls>
          <c:showLegendKey val="0"/>
          <c:showVal val="0"/>
          <c:showCatName val="0"/>
          <c:showSerName val="0"/>
          <c:showPercent val="0"/>
          <c:showBubbleSize val="0"/>
          <c:showLeaderLines val="1"/>
        </c:dLbls>
        <c:firstSliceAng val="0"/>
        <c:holeSize val="58"/>
      </c:doughnutChart>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barChart>
        <c:barDir val="col"/>
        <c:grouping val="clustered"/>
        <c:varyColors val="0"/>
        <c:ser>
          <c:idx val="0"/>
          <c:order val="0"/>
          <c:tx>
            <c:v>% Complete</c:v>
          </c:tx>
          <c:spPr>
            <a:solidFill>
              <a:schemeClr val="accent1"/>
            </a:solidFill>
            <a:ln>
              <a:noFill/>
            </a:ln>
            <a:effectLst/>
          </c:spPr>
          <c:invertIfNegative val="0"/>
          <c:dLbls>
            <c:spPr>
              <a:noFill/>
              <a:ln>
                <a:noFill/>
              </a:ln>
              <a:effectLst/>
            </c:spPr>
            <c:txPr>
              <a:bodyPr rot="0" spcFirstLastPara="0" vertOverflow="clip" horzOverflow="clip" vert="horz" wrap="square" lIns="38100" tIns="19050" rIns="38100" bIns="19050" numCol="1" spcCol="0" rtlCol="0" fromWordArt="0" anchor="ctr" anchorCtr="0" forceAA="0" compatLnSpc="1">
                <a:prstTxWarp prst="textNoShape">
                  <a:avLst/>
                </a:prstTxWarp>
                <a:spAutoFit/>
              </a:bodyPr>
              <a:lstStyle/>
              <a:p>
                <a:pPr>
                  <a:defRPr sz="900">
                    <a:solidFill>
                      <a:schemeClr val="tx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Lit>
              <c:ptCount val="6"/>
              <c:pt idx="0">
                <c:v>Scope</c:v>
              </c:pt>
              <c:pt idx="1">
                <c:v>Requirements Gathering/Analysis</c:v>
              </c:pt>
              <c:pt idx="2">
                <c:v>System Planning &amp; Design</c:v>
              </c:pt>
              <c:pt idx="3">
                <c:v>System Development</c:v>
              </c:pt>
              <c:pt idx="4">
                <c:v>Testing &amp; Implementation</c:v>
              </c:pt>
              <c:pt idx="5">
                <c:v>System Deployment</c:v>
              </c:pt>
            </c:strLit>
          </c:cat>
          <c:val>
            <c:numLit>
              <c:formatCode>#,##0"%"</c:formatCode>
              <c:ptCount val="6"/>
              <c:pt idx="0">
                <c:v>100</c:v>
              </c:pt>
              <c:pt idx="1">
                <c:v>38</c:v>
              </c:pt>
              <c:pt idx="2">
                <c:v>10</c:v>
              </c:pt>
              <c:pt idx="3">
                <c:v>0</c:v>
              </c:pt>
              <c:pt idx="4">
                <c:v>0</c:v>
              </c:pt>
              <c:pt idx="5">
                <c:v>0</c:v>
              </c:pt>
            </c:numLit>
          </c:val>
          <c:extLst>
            <c:ext xmlns:c16="http://schemas.microsoft.com/office/drawing/2014/chart" uri="{C3380CC4-5D6E-409C-BE32-E72D297353CC}">
              <c16:uniqueId val="{00000000-B37C-4801-9812-F2DC3C74B68C}"/>
            </c:ext>
          </c:extLst>
        </c:ser>
        <c:dLbls>
          <c:showLegendKey val="0"/>
          <c:showVal val="1"/>
          <c:showCatName val="0"/>
          <c:showSerName val="0"/>
          <c:showPercent val="0"/>
          <c:showBubbleSize val="0"/>
        </c:dLbls>
        <c:gapWidth val="219"/>
        <c:overlap val="-27"/>
        <c:axId val="261688784"/>
        <c:axId val="263497200"/>
      </c:barChart>
      <c:catAx>
        <c:axId val="26168878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kern="1200">
                <a:solidFill>
                  <a:schemeClr val="tx1">
                    <a:lumMod val="65000"/>
                    <a:lumOff val="35000"/>
                  </a:schemeClr>
                </a:solidFill>
                <a:latin typeface="+mn-lt"/>
                <a:ea typeface="+mn-ea"/>
                <a:cs typeface="+mn-cs"/>
              </a:defRPr>
            </a:pPr>
            <a:endParaRPr lang="en-US"/>
          </a:p>
        </c:txPr>
        <c:crossAx val="263497200"/>
        <c:crosses val="autoZero"/>
        <c:auto val="1"/>
        <c:lblAlgn val="ctr"/>
        <c:lblOffset val="100"/>
        <c:noMultiLvlLbl val="0"/>
      </c:catAx>
      <c:valAx>
        <c:axId val="26349720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quot;%&quot;" sourceLinked="1"/>
        <c:majorTickMark val="none"/>
        <c:minorTickMark val="none"/>
        <c:tickLblPos val="nextTo"/>
        <c:spPr>
          <a:noFill/>
          <a:ln>
            <a:noFill/>
          </a:ln>
          <a:effectLst/>
        </c:spPr>
        <c:txPr>
          <a:bodyPr rot="-60000000" spcFirstLastPara="1" vertOverflow="ellipsis" vert="horz" wrap="square" anchor="ctr" anchorCtr="1"/>
          <a:lstStyle/>
          <a:p>
            <a:pPr>
              <a:defRPr sz="900" kern="1200">
                <a:solidFill>
                  <a:schemeClr val="tx1">
                    <a:lumMod val="65000"/>
                    <a:lumOff val="35000"/>
                  </a:schemeClr>
                </a:solidFill>
                <a:latin typeface="+mn-lt"/>
                <a:ea typeface="+mn-ea"/>
                <a:cs typeface="+mn-cs"/>
              </a:defRPr>
            </a:pPr>
            <a:endParaRPr lang="en-US"/>
          </a:p>
        </c:txPr>
        <c:crossAx val="261688784"/>
        <c:crosses val="autoZero"/>
        <c:crossBetween val="between"/>
      </c:valAx>
      <c:spPr>
        <a:solidFill>
          <a:schemeClr val="bg1"/>
        </a:solidFill>
        <a:ln>
          <a:noFill/>
        </a:ln>
        <a:effectLst/>
      </c:spPr>
      <c:extLst/>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pivotSource>
    <c:name>[adr101]Resource Usage!PivotTable2</c:name>
    <c:fmtId val="3"/>
  </c:pivotSource>
  <c:chart>
    <c:title>
      <c:tx>
        <c:rich>
          <a:bodyPr/>
          <a:lstStyle/>
          <a:p>
            <a:pPr>
              <a:defRPr/>
            </a:pPr>
            <a:r>
              <a:rPr lang="en-US"/>
              <a:t>Resource Cost Summary Report</a:t>
            </a:r>
          </a:p>
        </c:rich>
      </c:tx>
      <c:overlay val="0"/>
    </c:title>
    <c:autoTitleDeleted val="0"/>
    <c:pivotFmts>
      <c:pivotFmt>
        <c:idx val="0"/>
        <c:marker>
          <c:symbol val="none"/>
        </c:marker>
        <c:dLbl>
          <c:idx val="0"/>
          <c:spPr/>
          <c:txPr>
            <a:bodyPr/>
            <a:lstStyle/>
            <a:p>
              <a:pPr>
                <a:defRPr/>
              </a:pPr>
              <a:endParaRPr lang="en-US"/>
            </a:p>
          </c:txPr>
          <c:showLegendKey val="1"/>
          <c:showVal val="1"/>
          <c:showCatName val="0"/>
          <c:showSerName val="0"/>
          <c:showPercent val="0"/>
          <c:showBubbleSize val="0"/>
          <c:extLst>
            <c:ext xmlns:c15="http://schemas.microsoft.com/office/drawing/2012/chart" uri="{CE6537A1-D6FC-4f65-9D91-7224C49458BB}"/>
          </c:extLst>
        </c:dLbl>
      </c:pivotFmt>
      <c:pivotFmt>
        <c:idx val="1"/>
      </c:pivotFmt>
      <c:pivotFmt>
        <c:idx val="2"/>
      </c:pivotFmt>
      <c:pivotFmt>
        <c:idx val="3"/>
      </c:pivotFmt>
      <c:pivotFmt>
        <c:idx val="4"/>
        <c:marker>
          <c:symbol val="none"/>
        </c:marker>
        <c:dLbl>
          <c:idx val="0"/>
          <c:spPr/>
          <c:txPr>
            <a:bodyPr/>
            <a:lstStyle/>
            <a:p>
              <a:pPr>
                <a:defRPr/>
              </a:pPr>
              <a:endParaRPr lang="en-US"/>
            </a:p>
          </c:txPr>
          <c:showLegendKey val="1"/>
          <c:showVal val="1"/>
          <c:showCatName val="0"/>
          <c:showSerName val="0"/>
          <c:showPercent val="0"/>
          <c:showBubbleSize val="0"/>
          <c:extLst>
            <c:ext xmlns:c15="http://schemas.microsoft.com/office/drawing/2012/chart" uri="{CE6537A1-D6FC-4f65-9D91-7224C49458BB}"/>
          </c:extLst>
        </c:dLbl>
      </c:pivotFmt>
      <c:pivotFmt>
        <c:idx val="5"/>
        <c:marker>
          <c:symbol val="none"/>
        </c:marker>
        <c:dLbl>
          <c:idx val="0"/>
          <c:spPr/>
          <c:txPr>
            <a:bodyPr/>
            <a:lstStyle/>
            <a:p>
              <a:pPr>
                <a:defRPr/>
              </a:pPr>
              <a:endParaRPr lang="en-US"/>
            </a:p>
          </c:txPr>
          <c:showLegendKey val="1"/>
          <c:showVal val="1"/>
          <c:showCatName val="0"/>
          <c:showSerName val="0"/>
          <c:showPercent val="0"/>
          <c:showBubbleSize val="0"/>
          <c:extLst>
            <c:ext xmlns:c15="http://schemas.microsoft.com/office/drawing/2012/chart" uri="{CE6537A1-D6FC-4f65-9D91-7224C49458BB}"/>
          </c:extLst>
        </c:dLbl>
      </c:pivotFmt>
    </c:pivotFmts>
    <c:plotArea>
      <c:layout/>
      <c:pieChart>
        <c:varyColors val="1"/>
        <c:dLbls>
          <c:showLegendKey val="1"/>
          <c:showVal val="1"/>
          <c:showCatName val="0"/>
          <c:showSerName val="0"/>
          <c:showPercent val="0"/>
          <c:showBubbleSize val="0"/>
          <c:showLeaderLines val="0"/>
        </c:dLbls>
        <c:firstSliceAng val="0"/>
      </c:pieChart>
      <c:spPr>
        <a:noFill/>
        <a:ln w="25400">
          <a:noFill/>
        </a:ln>
      </c:spPr>
    </c:plotArea>
    <c:legend>
      <c:legendPos val="r"/>
      <c:overlay val="0"/>
    </c:legend>
    <c:plotVisOnly val="1"/>
    <c:dispBlanksAs val="zero"/>
    <c:showDLblsOverMax val="0"/>
  </c:chart>
  <c:externalData r:id="rId1">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67733873812472"/>
          <c:y val="0.10326311441553077"/>
          <c:w val="0.78852134513937466"/>
          <c:h val="0.65885281997742851"/>
        </c:manualLayout>
      </c:layout>
      <c:barChart>
        <c:barDir val="col"/>
        <c:grouping val="stacked"/>
        <c:varyColors val="0"/>
        <c:ser>
          <c:idx val="0"/>
          <c:order val="0"/>
          <c:tx>
            <c:v>Actual Cost</c:v>
          </c:tx>
          <c:spPr>
            <a:solidFill>
              <a:schemeClr val="accent1"/>
            </a:solidFill>
            <a:ln>
              <a:noFill/>
            </a:ln>
            <a:effectLst/>
          </c:spPr>
          <c:invertIfNegative val="0"/>
          <c:cat>
            <c:strLit>
              <c:ptCount val="13"/>
              <c:pt idx="0">
                <c:v>Project Manager</c:v>
              </c:pt>
              <c:pt idx="1">
                <c:v>Senior AWS Network Analyst</c:v>
              </c:pt>
              <c:pt idx="2">
                <c:v>Senior AWS Cloud Architect</c:v>
              </c:pt>
              <c:pt idx="3">
                <c:v>AWS Big Data Analyst</c:v>
              </c:pt>
              <c:pt idx="4">
                <c:v>SysOps Administrator</c:v>
              </c:pt>
              <c:pt idx="5">
                <c:v>Management</c:v>
              </c:pt>
              <c:pt idx="6">
                <c:v>Software Cloud </c:v>
              </c:pt>
              <c:pt idx="7">
                <c:v>Software Big Data</c:v>
              </c:pt>
              <c:pt idx="8">
                <c:v>Software Project Management </c:v>
              </c:pt>
              <c:pt idx="9">
                <c:v>Software Email </c:v>
              </c:pt>
              <c:pt idx="10">
                <c:v>Hardware </c:v>
              </c:pt>
              <c:pt idx="11">
                <c:v>Air Travel </c:v>
              </c:pt>
              <c:pt idx="12">
                <c:v>Meals </c:v>
              </c:pt>
            </c:strLit>
          </c:cat>
          <c:val>
            <c:numLit>
              <c:formatCode>\$#,##0.00</c:formatCode>
              <c:ptCount val="13"/>
              <c:pt idx="0">
                <c:v>7200.0000000000009</c:v>
              </c:pt>
              <c:pt idx="1">
                <c:v>0</c:v>
              </c:pt>
              <c:pt idx="2">
                <c:v>9600</c:v>
              </c:pt>
              <c:pt idx="3">
                <c:v>3200</c:v>
              </c:pt>
              <c:pt idx="4">
                <c:v>576.00000000000011</c:v>
              </c:pt>
              <c:pt idx="5">
                <c:v>7200</c:v>
              </c:pt>
              <c:pt idx="6">
                <c:v>25000</c:v>
              </c:pt>
              <c:pt idx="7">
                <c:v>0</c:v>
              </c:pt>
              <c:pt idx="8">
                <c:v>40000</c:v>
              </c:pt>
              <c:pt idx="9">
                <c:v>30000</c:v>
              </c:pt>
              <c:pt idx="10">
                <c:v>80000</c:v>
              </c:pt>
              <c:pt idx="11">
                <c:v>40000</c:v>
              </c:pt>
              <c:pt idx="12">
                <c:v>0</c:v>
              </c:pt>
            </c:numLit>
          </c:val>
          <c:extLst>
            <c:ext xmlns:c16="http://schemas.microsoft.com/office/drawing/2014/chart" uri="{C3380CC4-5D6E-409C-BE32-E72D297353CC}">
              <c16:uniqueId val="{00000000-EE8D-4077-9857-34B543252F2A}"/>
            </c:ext>
          </c:extLst>
        </c:ser>
        <c:ser>
          <c:idx val="1"/>
          <c:order val="1"/>
          <c:tx>
            <c:v>Remaining Cost</c:v>
          </c:tx>
          <c:spPr>
            <a:solidFill>
              <a:schemeClr val="accent2"/>
            </a:solidFill>
            <a:ln>
              <a:noFill/>
            </a:ln>
            <a:effectLst/>
          </c:spPr>
          <c:invertIfNegative val="0"/>
          <c:cat>
            <c:strLit>
              <c:ptCount val="13"/>
              <c:pt idx="0">
                <c:v>Project Manager</c:v>
              </c:pt>
              <c:pt idx="1">
                <c:v>Senior AWS Network Analyst</c:v>
              </c:pt>
              <c:pt idx="2">
                <c:v>Senior AWS Cloud Architect</c:v>
              </c:pt>
              <c:pt idx="3">
                <c:v>AWS Big Data Analyst</c:v>
              </c:pt>
              <c:pt idx="4">
                <c:v>SysOps Administrator</c:v>
              </c:pt>
              <c:pt idx="5">
                <c:v>Management</c:v>
              </c:pt>
              <c:pt idx="6">
                <c:v>Software Cloud </c:v>
              </c:pt>
              <c:pt idx="7">
                <c:v>Software Big Data</c:v>
              </c:pt>
              <c:pt idx="8">
                <c:v>Software Project Management </c:v>
              </c:pt>
              <c:pt idx="9">
                <c:v>Software Email </c:v>
              </c:pt>
              <c:pt idx="10">
                <c:v>Hardware </c:v>
              </c:pt>
              <c:pt idx="11">
                <c:v>Air Travel </c:v>
              </c:pt>
              <c:pt idx="12">
                <c:v>Meals </c:v>
              </c:pt>
            </c:strLit>
          </c:cat>
          <c:val>
            <c:numLit>
              <c:formatCode>\$#,##0.00</c:formatCode>
              <c:ptCount val="13"/>
              <c:pt idx="0">
                <c:v>74400</c:v>
              </c:pt>
              <c:pt idx="1">
                <c:v>116800</c:v>
              </c:pt>
              <c:pt idx="2">
                <c:v>104000</c:v>
              </c:pt>
              <c:pt idx="3">
                <c:v>32640</c:v>
              </c:pt>
              <c:pt idx="4">
                <c:v>64064</c:v>
              </c:pt>
              <c:pt idx="5">
                <c:v>0</c:v>
              </c:pt>
              <c:pt idx="6">
                <c:v>75000</c:v>
              </c:pt>
              <c:pt idx="7">
                <c:v>270000</c:v>
              </c:pt>
              <c:pt idx="8">
                <c:v>80000</c:v>
              </c:pt>
              <c:pt idx="9">
                <c:v>60000</c:v>
              </c:pt>
              <c:pt idx="10">
                <c:v>80000</c:v>
              </c:pt>
              <c:pt idx="11">
                <c:v>40000</c:v>
              </c:pt>
              <c:pt idx="12">
                <c:v>0</c:v>
              </c:pt>
            </c:numLit>
          </c:val>
          <c:extLst>
            <c:ext xmlns:c16="http://schemas.microsoft.com/office/drawing/2014/chart" uri="{C3380CC4-5D6E-409C-BE32-E72D297353CC}">
              <c16:uniqueId val="{00000001-EE8D-4077-9857-34B543252F2A}"/>
            </c:ext>
          </c:extLst>
        </c:ser>
        <c:dLbls>
          <c:showLegendKey val="0"/>
          <c:showVal val="0"/>
          <c:showCatName val="0"/>
          <c:showSerName val="0"/>
          <c:showPercent val="0"/>
          <c:showBubbleSize val="0"/>
        </c:dLbls>
        <c:gapWidth val="269"/>
        <c:overlap val="100"/>
        <c:axId val="324971680"/>
        <c:axId val="320308992"/>
      </c:barChart>
      <c:lineChart>
        <c:grouping val="standard"/>
        <c:varyColors val="0"/>
        <c:ser>
          <c:idx val="2"/>
          <c:order val="2"/>
          <c:tx>
            <c:v>Baseline Cost</c:v>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Lit>
              <c:ptCount val="13"/>
              <c:pt idx="0">
                <c:v>Project Manager</c:v>
              </c:pt>
              <c:pt idx="1">
                <c:v>Senior AWS Network Analyst</c:v>
              </c:pt>
              <c:pt idx="2">
                <c:v>Senior AWS Cloud Architect</c:v>
              </c:pt>
              <c:pt idx="3">
                <c:v>AWS Big Data Analyst</c:v>
              </c:pt>
              <c:pt idx="4">
                <c:v>SysOps Administrator</c:v>
              </c:pt>
              <c:pt idx="5">
                <c:v>Management</c:v>
              </c:pt>
              <c:pt idx="6">
                <c:v>Software Cloud </c:v>
              </c:pt>
              <c:pt idx="7">
                <c:v>Software Big Data</c:v>
              </c:pt>
              <c:pt idx="8">
                <c:v>Software Project Management </c:v>
              </c:pt>
              <c:pt idx="9">
                <c:v>Software Email </c:v>
              </c:pt>
              <c:pt idx="10">
                <c:v>Hardware </c:v>
              </c:pt>
              <c:pt idx="11">
                <c:v>Air Travel </c:v>
              </c:pt>
              <c:pt idx="12">
                <c:v>Meals </c:v>
              </c:pt>
            </c:strLit>
          </c:cat>
          <c:val>
            <c:numLit>
              <c:formatCode>\$#,##0.00</c:formatCode>
              <c:ptCount val="13"/>
              <c:pt idx="0">
                <c:v>81600</c:v>
              </c:pt>
              <c:pt idx="1">
                <c:v>116800</c:v>
              </c:pt>
              <c:pt idx="2">
                <c:v>113600</c:v>
              </c:pt>
              <c:pt idx="3">
                <c:v>35840</c:v>
              </c:pt>
              <c:pt idx="4">
                <c:v>64640</c:v>
              </c:pt>
              <c:pt idx="5">
                <c:v>7200</c:v>
              </c:pt>
              <c:pt idx="6">
                <c:v>100000</c:v>
              </c:pt>
              <c:pt idx="7">
                <c:v>270000</c:v>
              </c:pt>
              <c:pt idx="8">
                <c:v>120000</c:v>
              </c:pt>
              <c:pt idx="9">
                <c:v>90000</c:v>
              </c:pt>
              <c:pt idx="10">
                <c:v>160000</c:v>
              </c:pt>
              <c:pt idx="11">
                <c:v>80000</c:v>
              </c:pt>
              <c:pt idx="12">
                <c:v>0</c:v>
              </c:pt>
            </c:numLit>
          </c:val>
          <c:smooth val="0"/>
          <c:extLst>
            <c:ext xmlns:c16="http://schemas.microsoft.com/office/drawing/2014/chart" uri="{C3380CC4-5D6E-409C-BE32-E72D297353CC}">
              <c16:uniqueId val="{00000002-EE8D-4077-9857-34B543252F2A}"/>
            </c:ext>
          </c:extLst>
        </c:ser>
        <c:dLbls>
          <c:showLegendKey val="0"/>
          <c:showVal val="0"/>
          <c:showCatName val="0"/>
          <c:showSerName val="0"/>
          <c:showPercent val="0"/>
          <c:showBubbleSize val="0"/>
        </c:dLbls>
        <c:marker val="1"/>
        <c:smooth val="0"/>
        <c:axId val="324971680"/>
        <c:axId val="320308992"/>
      </c:lineChart>
      <c:catAx>
        <c:axId val="324971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0308992"/>
        <c:crosses val="autoZero"/>
        <c:auto val="1"/>
        <c:lblAlgn val="ctr"/>
        <c:lblOffset val="100"/>
        <c:noMultiLvlLbl val="0"/>
      </c:catAx>
      <c:valAx>
        <c:axId val="32030899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4971680"/>
        <c:crosses val="autoZero"/>
        <c:crossBetween val="between"/>
      </c:valAx>
      <c:spPr>
        <a:noFill/>
        <a:ln>
          <a:noFill/>
        </a:ln>
        <a:effectLst/>
      </c:spPr>
      <c:extLst/>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v>Cost</c:v>
          </c:tx>
          <c:spPr>
            <a:effectLst/>
          </c:spPr>
          <c:dPt>
            <c:idx val="0"/>
            <c:bubble3D val="0"/>
            <c:spPr>
              <a:solidFill>
                <a:schemeClr val="accent1"/>
              </a:solidFill>
              <a:ln>
                <a:noFill/>
              </a:ln>
              <a:effectLst/>
            </c:spPr>
            <c:extLst>
              <c:ext xmlns:c16="http://schemas.microsoft.com/office/drawing/2014/chart" uri="{C3380CC4-5D6E-409C-BE32-E72D297353CC}">
                <c16:uniqueId val="{00000001-F4CA-4936-99F0-2B66BA84021F}"/>
              </c:ext>
            </c:extLst>
          </c:dPt>
          <c:dPt>
            <c:idx val="1"/>
            <c:bubble3D val="0"/>
            <c:spPr>
              <a:solidFill>
                <a:schemeClr val="accent2"/>
              </a:solidFill>
              <a:ln>
                <a:noFill/>
              </a:ln>
              <a:effectLst/>
            </c:spPr>
            <c:extLst>
              <c:ext xmlns:c16="http://schemas.microsoft.com/office/drawing/2014/chart" uri="{C3380CC4-5D6E-409C-BE32-E72D297353CC}">
                <c16:uniqueId val="{00000003-F4CA-4936-99F0-2B66BA84021F}"/>
              </c:ext>
            </c:extLst>
          </c:dPt>
          <c:dPt>
            <c:idx val="2"/>
            <c:bubble3D val="0"/>
            <c:spPr>
              <a:solidFill>
                <a:schemeClr val="accent3"/>
              </a:solidFill>
              <a:ln>
                <a:noFill/>
              </a:ln>
              <a:effectLst/>
            </c:spPr>
            <c:extLst>
              <c:ext xmlns:c16="http://schemas.microsoft.com/office/drawing/2014/chart" uri="{C3380CC4-5D6E-409C-BE32-E72D297353CC}">
                <c16:uniqueId val="{00000005-F4CA-4936-99F0-2B66BA84021F}"/>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prstDash val="solid"/>
                  <a:round/>
                </a:ln>
                <a:effectLst/>
              </c:spPr>
            </c:leaderLines>
            <c:extLst>
              <c:ext xmlns:c15="http://schemas.microsoft.com/office/drawing/2012/chart" uri="{CE6537A1-D6FC-4f65-9D91-7224C49458BB}"/>
            </c:extLst>
          </c:dLbls>
          <c:cat>
            <c:strLit>
              <c:ptCount val="3"/>
              <c:pt idx="0">
                <c:v>Status: Complete</c:v>
              </c:pt>
              <c:pt idx="1">
                <c:v>Status: Late</c:v>
              </c:pt>
              <c:pt idx="2">
                <c:v>Status: Future Task</c:v>
              </c:pt>
            </c:strLit>
          </c:cat>
          <c:val>
            <c:numLit>
              <c:formatCode>\$#,##0.00</c:formatCode>
              <c:ptCount val="3"/>
              <c:pt idx="0">
                <c:v>93200</c:v>
              </c:pt>
              <c:pt idx="1">
                <c:v>14080</c:v>
              </c:pt>
              <c:pt idx="2">
                <c:v>378400</c:v>
              </c:pt>
            </c:numLit>
          </c:val>
          <c:extLst>
            <c:ext xmlns:c16="http://schemas.microsoft.com/office/drawing/2014/chart" uri="{C3380CC4-5D6E-409C-BE32-E72D297353CC}">
              <c16:uniqueId val="{00000006-F4CA-4936-99F0-2B66BA84021F}"/>
            </c:ext>
          </c:extLst>
        </c:ser>
        <c:dLbls>
          <c:dLblPos val="inEnd"/>
          <c:showLegendKey val="0"/>
          <c:showVal val="1"/>
          <c:showCatName val="0"/>
          <c:showSerName val="0"/>
          <c:showPercent val="0"/>
          <c:showBubbleSize val="0"/>
          <c:showLeaderLines val="1"/>
        </c:dLbls>
        <c:firstSliceAng val="0"/>
      </c:pieChart>
      <c:spPr>
        <a:solidFill>
          <a:schemeClr val="bg1"/>
        </a:solidFill>
        <a:ln>
          <a:noFill/>
        </a:ln>
        <a:effectLst/>
      </c:spPr>
      <c:extLst/>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prstDash val="solid"/>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1">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8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2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diagrams/_rels/data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diagrams/_rels/drawing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svg"/><Relationship Id="rId1" Type="http://schemas.openxmlformats.org/officeDocument/2006/relationships/image" Target="../media/image6.png"/><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diagrams/_rels/drawing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data1.xml><?xml version="1.0" encoding="utf-8"?>
<dgm:dataModel xmlns:dgm="http://schemas.openxmlformats.org/drawingml/2006/diagram" xmlns:a="http://schemas.openxmlformats.org/drawingml/2006/main">
  <dgm:ptLst>
    <dgm:pt modelId="{0ED9CC36-12A3-4EC4-BC8B-952B3BF2CB5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EE9A1E8A-9375-4299-BC64-62045AEE5893}">
      <dgm:prSet/>
      <dgm:spPr/>
      <dgm:t>
        <a:bodyPr/>
        <a:lstStyle/>
        <a:p>
          <a:r>
            <a:rPr lang="en-US" b="0" i="0"/>
            <a:t>Project Overview ​</a:t>
          </a:r>
          <a:endParaRPr lang="en-US"/>
        </a:p>
      </dgm:t>
    </dgm:pt>
    <dgm:pt modelId="{A9D2A010-16E4-450C-9E95-1940FA9A6B15}" type="parTrans" cxnId="{7051FE98-D2F7-42E1-8F8E-5E19A47C4363}">
      <dgm:prSet/>
      <dgm:spPr/>
      <dgm:t>
        <a:bodyPr/>
        <a:lstStyle/>
        <a:p>
          <a:endParaRPr lang="en-US"/>
        </a:p>
      </dgm:t>
    </dgm:pt>
    <dgm:pt modelId="{0BA8DCFE-9075-4F52-B90F-131538AF025F}" type="sibTrans" cxnId="{7051FE98-D2F7-42E1-8F8E-5E19A47C4363}">
      <dgm:prSet/>
      <dgm:spPr/>
      <dgm:t>
        <a:bodyPr/>
        <a:lstStyle/>
        <a:p>
          <a:endParaRPr lang="en-US"/>
        </a:p>
      </dgm:t>
    </dgm:pt>
    <dgm:pt modelId="{C51DCDC5-94C3-4394-AD60-A8ADB2FAED28}">
      <dgm:prSet/>
      <dgm:spPr/>
      <dgm:t>
        <a:bodyPr/>
        <a:lstStyle/>
        <a:p>
          <a:r>
            <a:rPr lang="en-US" b="0" i="0"/>
            <a:t>Risk Assessment ​</a:t>
          </a:r>
          <a:endParaRPr lang="en-US"/>
        </a:p>
      </dgm:t>
    </dgm:pt>
    <dgm:pt modelId="{6CCE7E5C-34DF-4EBF-A7D5-C0712A99F387}" type="parTrans" cxnId="{C183C974-F426-45BB-B91F-EAEB11B67BC6}">
      <dgm:prSet/>
      <dgm:spPr/>
      <dgm:t>
        <a:bodyPr/>
        <a:lstStyle/>
        <a:p>
          <a:endParaRPr lang="en-US"/>
        </a:p>
      </dgm:t>
    </dgm:pt>
    <dgm:pt modelId="{AA044C4C-3BB5-47FE-8032-A8BB2346E3FD}" type="sibTrans" cxnId="{C183C974-F426-45BB-B91F-EAEB11B67BC6}">
      <dgm:prSet/>
      <dgm:spPr/>
      <dgm:t>
        <a:bodyPr/>
        <a:lstStyle/>
        <a:p>
          <a:endParaRPr lang="en-US"/>
        </a:p>
      </dgm:t>
    </dgm:pt>
    <dgm:pt modelId="{90D0C516-B25A-408D-82C9-5C4903E820C2}">
      <dgm:prSet/>
      <dgm:spPr/>
      <dgm:t>
        <a:bodyPr/>
        <a:lstStyle/>
        <a:p>
          <a:r>
            <a:rPr lang="en-US" b="0" i="0"/>
            <a:t>Project Schedule ​</a:t>
          </a:r>
          <a:endParaRPr lang="en-US"/>
        </a:p>
      </dgm:t>
    </dgm:pt>
    <dgm:pt modelId="{BCCB9316-1BCD-4120-862A-EC19767867C5}" type="parTrans" cxnId="{2E0EC954-557B-4A0F-A9AB-86AF030EE3C4}">
      <dgm:prSet/>
      <dgm:spPr/>
      <dgm:t>
        <a:bodyPr/>
        <a:lstStyle/>
        <a:p>
          <a:endParaRPr lang="en-US"/>
        </a:p>
      </dgm:t>
    </dgm:pt>
    <dgm:pt modelId="{6C48F33D-2E6C-4A17-B437-EFD3732B0979}" type="sibTrans" cxnId="{2E0EC954-557B-4A0F-A9AB-86AF030EE3C4}">
      <dgm:prSet/>
      <dgm:spPr/>
      <dgm:t>
        <a:bodyPr/>
        <a:lstStyle/>
        <a:p>
          <a:endParaRPr lang="en-US"/>
        </a:p>
      </dgm:t>
    </dgm:pt>
    <dgm:pt modelId="{219110C8-DF01-4CF5-A3D6-F19F824A089F}">
      <dgm:prSet/>
      <dgm:spPr/>
      <dgm:t>
        <a:bodyPr/>
        <a:lstStyle/>
        <a:p>
          <a:r>
            <a:rPr lang="en-US" b="0" i="0"/>
            <a:t>Stakeholder Management ​</a:t>
          </a:r>
          <a:endParaRPr lang="en-US"/>
        </a:p>
      </dgm:t>
    </dgm:pt>
    <dgm:pt modelId="{76D0685F-E1D9-4496-A517-C5D280F4BFF3}" type="parTrans" cxnId="{730123C3-53D0-4C90-A122-00D77E7AE911}">
      <dgm:prSet/>
      <dgm:spPr/>
      <dgm:t>
        <a:bodyPr/>
        <a:lstStyle/>
        <a:p>
          <a:endParaRPr lang="en-US"/>
        </a:p>
      </dgm:t>
    </dgm:pt>
    <dgm:pt modelId="{32C2C3F7-A25C-49C7-85DA-6F37AEDB7A7C}" type="sibTrans" cxnId="{730123C3-53D0-4C90-A122-00D77E7AE911}">
      <dgm:prSet/>
      <dgm:spPr/>
      <dgm:t>
        <a:bodyPr/>
        <a:lstStyle/>
        <a:p>
          <a:endParaRPr lang="en-US"/>
        </a:p>
      </dgm:t>
    </dgm:pt>
    <dgm:pt modelId="{972371C0-77CB-454C-B358-7D02B4489EEC}">
      <dgm:prSet/>
      <dgm:spPr/>
      <dgm:t>
        <a:bodyPr/>
        <a:lstStyle/>
        <a:p>
          <a:r>
            <a:rPr lang="en-US" b="0" i="0"/>
            <a:t>Communication Management ​</a:t>
          </a:r>
          <a:endParaRPr lang="en-US"/>
        </a:p>
      </dgm:t>
    </dgm:pt>
    <dgm:pt modelId="{5BC2AC0D-549F-48D0-9237-E105F429FAB4}" type="parTrans" cxnId="{DE1B8B22-76F4-4F3D-858C-A6D9F17770E1}">
      <dgm:prSet/>
      <dgm:spPr/>
      <dgm:t>
        <a:bodyPr/>
        <a:lstStyle/>
        <a:p>
          <a:endParaRPr lang="en-US"/>
        </a:p>
      </dgm:t>
    </dgm:pt>
    <dgm:pt modelId="{7122FC13-BCAB-407A-9A9F-725139FF843D}" type="sibTrans" cxnId="{DE1B8B22-76F4-4F3D-858C-A6D9F17770E1}">
      <dgm:prSet/>
      <dgm:spPr/>
      <dgm:t>
        <a:bodyPr/>
        <a:lstStyle/>
        <a:p>
          <a:endParaRPr lang="en-US"/>
        </a:p>
      </dgm:t>
    </dgm:pt>
    <dgm:pt modelId="{14AA6E3D-A1FE-4AC9-AA54-1858088F34D5}">
      <dgm:prSet/>
      <dgm:spPr/>
      <dgm:t>
        <a:bodyPr/>
        <a:lstStyle/>
        <a:p>
          <a:r>
            <a:rPr lang="en-US" b="0" i="0"/>
            <a:t>Tracking and Status update ​</a:t>
          </a:r>
          <a:endParaRPr lang="en-US"/>
        </a:p>
      </dgm:t>
    </dgm:pt>
    <dgm:pt modelId="{61A7B727-3A47-4EF7-AA02-B5DDE09EC611}" type="parTrans" cxnId="{A0018DE9-2D5B-4054-B161-82D3625FF1C7}">
      <dgm:prSet/>
      <dgm:spPr/>
      <dgm:t>
        <a:bodyPr/>
        <a:lstStyle/>
        <a:p>
          <a:endParaRPr lang="en-US"/>
        </a:p>
      </dgm:t>
    </dgm:pt>
    <dgm:pt modelId="{8FB925FB-A623-47F9-9ADA-240B7EDBB2A7}" type="sibTrans" cxnId="{A0018DE9-2D5B-4054-B161-82D3625FF1C7}">
      <dgm:prSet/>
      <dgm:spPr/>
      <dgm:t>
        <a:bodyPr/>
        <a:lstStyle/>
        <a:p>
          <a:endParaRPr lang="en-US"/>
        </a:p>
      </dgm:t>
    </dgm:pt>
    <dgm:pt modelId="{9FB2C520-702F-4D5B-92AD-6FB47BC0E2DB}">
      <dgm:prSet/>
      <dgm:spPr/>
      <dgm:t>
        <a:bodyPr/>
        <a:lstStyle/>
        <a:p>
          <a:r>
            <a:rPr lang="en-US" b="0" i="0"/>
            <a:t>Project Close Out ​</a:t>
          </a:r>
          <a:endParaRPr lang="en-US"/>
        </a:p>
      </dgm:t>
    </dgm:pt>
    <dgm:pt modelId="{F1E657EC-940B-4254-B04C-B1A166FA3BCB}" type="parTrans" cxnId="{A6918F22-8AFE-4D1D-BBAB-2C11EBBA66CB}">
      <dgm:prSet/>
      <dgm:spPr/>
      <dgm:t>
        <a:bodyPr/>
        <a:lstStyle/>
        <a:p>
          <a:endParaRPr lang="en-US"/>
        </a:p>
      </dgm:t>
    </dgm:pt>
    <dgm:pt modelId="{846FD24A-63B8-4092-841C-F179EE1C3406}" type="sibTrans" cxnId="{A6918F22-8AFE-4D1D-BBAB-2C11EBBA66CB}">
      <dgm:prSet/>
      <dgm:spPr/>
      <dgm:t>
        <a:bodyPr/>
        <a:lstStyle/>
        <a:p>
          <a:endParaRPr lang="en-US"/>
        </a:p>
      </dgm:t>
    </dgm:pt>
    <dgm:pt modelId="{ADBDA0CB-0472-4456-8C09-8631E193208C}" type="pres">
      <dgm:prSet presAssocID="{0ED9CC36-12A3-4EC4-BC8B-952B3BF2CB50}" presName="linear" presStyleCnt="0">
        <dgm:presLayoutVars>
          <dgm:animLvl val="lvl"/>
          <dgm:resizeHandles val="exact"/>
        </dgm:presLayoutVars>
      </dgm:prSet>
      <dgm:spPr/>
    </dgm:pt>
    <dgm:pt modelId="{4E635D54-E36F-496E-8AE3-1573968F2BDF}" type="pres">
      <dgm:prSet presAssocID="{EE9A1E8A-9375-4299-BC64-62045AEE5893}" presName="parentText" presStyleLbl="node1" presStyleIdx="0" presStyleCnt="7">
        <dgm:presLayoutVars>
          <dgm:chMax val="0"/>
          <dgm:bulletEnabled val="1"/>
        </dgm:presLayoutVars>
      </dgm:prSet>
      <dgm:spPr/>
    </dgm:pt>
    <dgm:pt modelId="{84735C33-6E0D-4E62-A0D5-364AE821B127}" type="pres">
      <dgm:prSet presAssocID="{0BA8DCFE-9075-4F52-B90F-131538AF025F}" presName="spacer" presStyleCnt="0"/>
      <dgm:spPr/>
    </dgm:pt>
    <dgm:pt modelId="{6CABA8C7-B0AE-462A-921B-FA53DC622115}" type="pres">
      <dgm:prSet presAssocID="{C51DCDC5-94C3-4394-AD60-A8ADB2FAED28}" presName="parentText" presStyleLbl="node1" presStyleIdx="1" presStyleCnt="7">
        <dgm:presLayoutVars>
          <dgm:chMax val="0"/>
          <dgm:bulletEnabled val="1"/>
        </dgm:presLayoutVars>
      </dgm:prSet>
      <dgm:spPr/>
    </dgm:pt>
    <dgm:pt modelId="{FEA41152-FC65-4743-82BF-752CEE4F8E84}" type="pres">
      <dgm:prSet presAssocID="{AA044C4C-3BB5-47FE-8032-A8BB2346E3FD}" presName="spacer" presStyleCnt="0"/>
      <dgm:spPr/>
    </dgm:pt>
    <dgm:pt modelId="{4B3C811A-D687-41E6-B220-5061478A3387}" type="pres">
      <dgm:prSet presAssocID="{90D0C516-B25A-408D-82C9-5C4903E820C2}" presName="parentText" presStyleLbl="node1" presStyleIdx="2" presStyleCnt="7">
        <dgm:presLayoutVars>
          <dgm:chMax val="0"/>
          <dgm:bulletEnabled val="1"/>
        </dgm:presLayoutVars>
      </dgm:prSet>
      <dgm:spPr/>
    </dgm:pt>
    <dgm:pt modelId="{FB4D4C07-3FC0-4A04-BDAF-D6384AAB99A6}" type="pres">
      <dgm:prSet presAssocID="{6C48F33D-2E6C-4A17-B437-EFD3732B0979}" presName="spacer" presStyleCnt="0"/>
      <dgm:spPr/>
    </dgm:pt>
    <dgm:pt modelId="{0F8B549B-471C-460B-9ABD-AD3A7DE1FE90}" type="pres">
      <dgm:prSet presAssocID="{219110C8-DF01-4CF5-A3D6-F19F824A089F}" presName="parentText" presStyleLbl="node1" presStyleIdx="3" presStyleCnt="7">
        <dgm:presLayoutVars>
          <dgm:chMax val="0"/>
          <dgm:bulletEnabled val="1"/>
        </dgm:presLayoutVars>
      </dgm:prSet>
      <dgm:spPr/>
    </dgm:pt>
    <dgm:pt modelId="{4C421106-5FEB-4C67-A0E5-5D39738AA552}" type="pres">
      <dgm:prSet presAssocID="{32C2C3F7-A25C-49C7-85DA-6F37AEDB7A7C}" presName="spacer" presStyleCnt="0"/>
      <dgm:spPr/>
    </dgm:pt>
    <dgm:pt modelId="{C8184563-2242-48BE-BBD5-10FEDCCDAA8C}" type="pres">
      <dgm:prSet presAssocID="{972371C0-77CB-454C-B358-7D02B4489EEC}" presName="parentText" presStyleLbl="node1" presStyleIdx="4" presStyleCnt="7">
        <dgm:presLayoutVars>
          <dgm:chMax val="0"/>
          <dgm:bulletEnabled val="1"/>
        </dgm:presLayoutVars>
      </dgm:prSet>
      <dgm:spPr/>
    </dgm:pt>
    <dgm:pt modelId="{5152142E-5777-4300-8E34-123F5A58EB9D}" type="pres">
      <dgm:prSet presAssocID="{7122FC13-BCAB-407A-9A9F-725139FF843D}" presName="spacer" presStyleCnt="0"/>
      <dgm:spPr/>
    </dgm:pt>
    <dgm:pt modelId="{00FEF9A4-4EBE-4D68-AEEA-1328A8286326}" type="pres">
      <dgm:prSet presAssocID="{14AA6E3D-A1FE-4AC9-AA54-1858088F34D5}" presName="parentText" presStyleLbl="node1" presStyleIdx="5" presStyleCnt="7">
        <dgm:presLayoutVars>
          <dgm:chMax val="0"/>
          <dgm:bulletEnabled val="1"/>
        </dgm:presLayoutVars>
      </dgm:prSet>
      <dgm:spPr/>
    </dgm:pt>
    <dgm:pt modelId="{687F8BF6-32F5-4A73-9C8E-85B708353E71}" type="pres">
      <dgm:prSet presAssocID="{8FB925FB-A623-47F9-9ADA-240B7EDBB2A7}" presName="spacer" presStyleCnt="0"/>
      <dgm:spPr/>
    </dgm:pt>
    <dgm:pt modelId="{C2F27B1F-F7A1-4675-BAB9-9D78C25684D4}" type="pres">
      <dgm:prSet presAssocID="{9FB2C520-702F-4D5B-92AD-6FB47BC0E2DB}" presName="parentText" presStyleLbl="node1" presStyleIdx="6" presStyleCnt="7">
        <dgm:presLayoutVars>
          <dgm:chMax val="0"/>
          <dgm:bulletEnabled val="1"/>
        </dgm:presLayoutVars>
      </dgm:prSet>
      <dgm:spPr/>
    </dgm:pt>
  </dgm:ptLst>
  <dgm:cxnLst>
    <dgm:cxn modelId="{DE1B8B22-76F4-4F3D-858C-A6D9F17770E1}" srcId="{0ED9CC36-12A3-4EC4-BC8B-952B3BF2CB50}" destId="{972371C0-77CB-454C-B358-7D02B4489EEC}" srcOrd="4" destOrd="0" parTransId="{5BC2AC0D-549F-48D0-9237-E105F429FAB4}" sibTransId="{7122FC13-BCAB-407A-9A9F-725139FF843D}"/>
    <dgm:cxn modelId="{A6918F22-8AFE-4D1D-BBAB-2C11EBBA66CB}" srcId="{0ED9CC36-12A3-4EC4-BC8B-952B3BF2CB50}" destId="{9FB2C520-702F-4D5B-92AD-6FB47BC0E2DB}" srcOrd="6" destOrd="0" parTransId="{F1E657EC-940B-4254-B04C-B1A166FA3BCB}" sibTransId="{846FD24A-63B8-4092-841C-F179EE1C3406}"/>
    <dgm:cxn modelId="{EA762C4C-DCEC-44B8-A977-3E89CCC05C7A}" type="presOf" srcId="{90D0C516-B25A-408D-82C9-5C4903E820C2}" destId="{4B3C811A-D687-41E6-B220-5061478A3387}" srcOrd="0" destOrd="0" presId="urn:microsoft.com/office/officeart/2005/8/layout/vList2"/>
    <dgm:cxn modelId="{DFE86D4C-F700-4532-BDA7-178B498729E6}" type="presOf" srcId="{9FB2C520-702F-4D5B-92AD-6FB47BC0E2DB}" destId="{C2F27B1F-F7A1-4675-BAB9-9D78C25684D4}" srcOrd="0" destOrd="0" presId="urn:microsoft.com/office/officeart/2005/8/layout/vList2"/>
    <dgm:cxn modelId="{2E0EC954-557B-4A0F-A9AB-86AF030EE3C4}" srcId="{0ED9CC36-12A3-4EC4-BC8B-952B3BF2CB50}" destId="{90D0C516-B25A-408D-82C9-5C4903E820C2}" srcOrd="2" destOrd="0" parTransId="{BCCB9316-1BCD-4120-862A-EC19767867C5}" sibTransId="{6C48F33D-2E6C-4A17-B437-EFD3732B0979}"/>
    <dgm:cxn modelId="{C183C974-F426-45BB-B91F-EAEB11B67BC6}" srcId="{0ED9CC36-12A3-4EC4-BC8B-952B3BF2CB50}" destId="{C51DCDC5-94C3-4394-AD60-A8ADB2FAED28}" srcOrd="1" destOrd="0" parTransId="{6CCE7E5C-34DF-4EBF-A7D5-C0712A99F387}" sibTransId="{AA044C4C-3BB5-47FE-8032-A8BB2346E3FD}"/>
    <dgm:cxn modelId="{AE442694-21E0-465A-826A-42EE69ACD4CC}" type="presOf" srcId="{C51DCDC5-94C3-4394-AD60-A8ADB2FAED28}" destId="{6CABA8C7-B0AE-462A-921B-FA53DC622115}" srcOrd="0" destOrd="0" presId="urn:microsoft.com/office/officeart/2005/8/layout/vList2"/>
    <dgm:cxn modelId="{7051FE98-D2F7-42E1-8F8E-5E19A47C4363}" srcId="{0ED9CC36-12A3-4EC4-BC8B-952B3BF2CB50}" destId="{EE9A1E8A-9375-4299-BC64-62045AEE5893}" srcOrd="0" destOrd="0" parTransId="{A9D2A010-16E4-450C-9E95-1940FA9A6B15}" sibTransId="{0BA8DCFE-9075-4F52-B90F-131538AF025F}"/>
    <dgm:cxn modelId="{5B6EB19B-2C52-40AF-97A3-C6BA91E5F0D5}" type="presOf" srcId="{EE9A1E8A-9375-4299-BC64-62045AEE5893}" destId="{4E635D54-E36F-496E-8AE3-1573968F2BDF}" srcOrd="0" destOrd="0" presId="urn:microsoft.com/office/officeart/2005/8/layout/vList2"/>
    <dgm:cxn modelId="{64600EAB-C8AA-4FFE-9F51-059D88D4680D}" type="presOf" srcId="{0ED9CC36-12A3-4EC4-BC8B-952B3BF2CB50}" destId="{ADBDA0CB-0472-4456-8C09-8631E193208C}" srcOrd="0" destOrd="0" presId="urn:microsoft.com/office/officeart/2005/8/layout/vList2"/>
    <dgm:cxn modelId="{B0F678AE-ADE3-41AE-B04D-F176E3C8E9E9}" type="presOf" srcId="{14AA6E3D-A1FE-4AC9-AA54-1858088F34D5}" destId="{00FEF9A4-4EBE-4D68-AEEA-1328A8286326}" srcOrd="0" destOrd="0" presId="urn:microsoft.com/office/officeart/2005/8/layout/vList2"/>
    <dgm:cxn modelId="{E28601BF-F5D8-433F-AB25-F10F7F585F1C}" type="presOf" srcId="{972371C0-77CB-454C-B358-7D02B4489EEC}" destId="{C8184563-2242-48BE-BBD5-10FEDCCDAA8C}" srcOrd="0" destOrd="0" presId="urn:microsoft.com/office/officeart/2005/8/layout/vList2"/>
    <dgm:cxn modelId="{730123C3-53D0-4C90-A122-00D77E7AE911}" srcId="{0ED9CC36-12A3-4EC4-BC8B-952B3BF2CB50}" destId="{219110C8-DF01-4CF5-A3D6-F19F824A089F}" srcOrd="3" destOrd="0" parTransId="{76D0685F-E1D9-4496-A517-C5D280F4BFF3}" sibTransId="{32C2C3F7-A25C-49C7-85DA-6F37AEDB7A7C}"/>
    <dgm:cxn modelId="{E703C3E2-E100-4B18-BC05-13125A4D8B00}" type="presOf" srcId="{219110C8-DF01-4CF5-A3D6-F19F824A089F}" destId="{0F8B549B-471C-460B-9ABD-AD3A7DE1FE90}" srcOrd="0" destOrd="0" presId="urn:microsoft.com/office/officeart/2005/8/layout/vList2"/>
    <dgm:cxn modelId="{A0018DE9-2D5B-4054-B161-82D3625FF1C7}" srcId="{0ED9CC36-12A3-4EC4-BC8B-952B3BF2CB50}" destId="{14AA6E3D-A1FE-4AC9-AA54-1858088F34D5}" srcOrd="5" destOrd="0" parTransId="{61A7B727-3A47-4EF7-AA02-B5DDE09EC611}" sibTransId="{8FB925FB-A623-47F9-9ADA-240B7EDBB2A7}"/>
    <dgm:cxn modelId="{5BB046A5-F16D-4970-837C-F667B71B480A}" type="presParOf" srcId="{ADBDA0CB-0472-4456-8C09-8631E193208C}" destId="{4E635D54-E36F-496E-8AE3-1573968F2BDF}" srcOrd="0" destOrd="0" presId="urn:microsoft.com/office/officeart/2005/8/layout/vList2"/>
    <dgm:cxn modelId="{91F88303-1C4B-48E7-9C30-4CB0504A98D9}" type="presParOf" srcId="{ADBDA0CB-0472-4456-8C09-8631E193208C}" destId="{84735C33-6E0D-4E62-A0D5-364AE821B127}" srcOrd="1" destOrd="0" presId="urn:microsoft.com/office/officeart/2005/8/layout/vList2"/>
    <dgm:cxn modelId="{B7A53997-8079-4E75-BD5A-55F84C3DC222}" type="presParOf" srcId="{ADBDA0CB-0472-4456-8C09-8631E193208C}" destId="{6CABA8C7-B0AE-462A-921B-FA53DC622115}" srcOrd="2" destOrd="0" presId="urn:microsoft.com/office/officeart/2005/8/layout/vList2"/>
    <dgm:cxn modelId="{7035C914-AD91-452D-8F63-72DC15D8936D}" type="presParOf" srcId="{ADBDA0CB-0472-4456-8C09-8631E193208C}" destId="{FEA41152-FC65-4743-82BF-752CEE4F8E84}" srcOrd="3" destOrd="0" presId="urn:microsoft.com/office/officeart/2005/8/layout/vList2"/>
    <dgm:cxn modelId="{1B690C29-BF35-46A7-8554-F53CC79185EB}" type="presParOf" srcId="{ADBDA0CB-0472-4456-8C09-8631E193208C}" destId="{4B3C811A-D687-41E6-B220-5061478A3387}" srcOrd="4" destOrd="0" presId="urn:microsoft.com/office/officeart/2005/8/layout/vList2"/>
    <dgm:cxn modelId="{B1FAECEB-E1B9-4BCC-92A0-736462E5B285}" type="presParOf" srcId="{ADBDA0CB-0472-4456-8C09-8631E193208C}" destId="{FB4D4C07-3FC0-4A04-BDAF-D6384AAB99A6}" srcOrd="5" destOrd="0" presId="urn:microsoft.com/office/officeart/2005/8/layout/vList2"/>
    <dgm:cxn modelId="{1FBE88FD-944F-4ED9-ABE5-5744C85DDC7F}" type="presParOf" srcId="{ADBDA0CB-0472-4456-8C09-8631E193208C}" destId="{0F8B549B-471C-460B-9ABD-AD3A7DE1FE90}" srcOrd="6" destOrd="0" presId="urn:microsoft.com/office/officeart/2005/8/layout/vList2"/>
    <dgm:cxn modelId="{AB624B82-8E20-492B-B12B-C05426945DB4}" type="presParOf" srcId="{ADBDA0CB-0472-4456-8C09-8631E193208C}" destId="{4C421106-5FEB-4C67-A0E5-5D39738AA552}" srcOrd="7" destOrd="0" presId="urn:microsoft.com/office/officeart/2005/8/layout/vList2"/>
    <dgm:cxn modelId="{DA702798-5A59-4D85-96DD-51D12E4B4300}" type="presParOf" srcId="{ADBDA0CB-0472-4456-8C09-8631E193208C}" destId="{C8184563-2242-48BE-BBD5-10FEDCCDAA8C}" srcOrd="8" destOrd="0" presId="urn:microsoft.com/office/officeart/2005/8/layout/vList2"/>
    <dgm:cxn modelId="{80482BDC-40BB-4907-97CB-D1892A5D1BCC}" type="presParOf" srcId="{ADBDA0CB-0472-4456-8C09-8631E193208C}" destId="{5152142E-5777-4300-8E34-123F5A58EB9D}" srcOrd="9" destOrd="0" presId="urn:microsoft.com/office/officeart/2005/8/layout/vList2"/>
    <dgm:cxn modelId="{733735C3-A4AB-4E00-84C4-03105921F467}" type="presParOf" srcId="{ADBDA0CB-0472-4456-8C09-8631E193208C}" destId="{00FEF9A4-4EBE-4D68-AEEA-1328A8286326}" srcOrd="10" destOrd="0" presId="urn:microsoft.com/office/officeart/2005/8/layout/vList2"/>
    <dgm:cxn modelId="{04ACAA04-A4F5-4216-92AF-1C98DD9539D4}" type="presParOf" srcId="{ADBDA0CB-0472-4456-8C09-8631E193208C}" destId="{687F8BF6-32F5-4A73-9C8E-85B708353E71}" srcOrd="11" destOrd="0" presId="urn:microsoft.com/office/officeart/2005/8/layout/vList2"/>
    <dgm:cxn modelId="{D266BC9C-41AA-44E0-9C24-7D7A9D2F9016}" type="presParOf" srcId="{ADBDA0CB-0472-4456-8C09-8631E193208C}" destId="{C2F27B1F-F7A1-4675-BAB9-9D78C25684D4}"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2CB8621-6FB7-4FB9-AA04-332C20AD938C}" type="doc">
      <dgm:prSet loTypeId="urn:microsoft.com/office/officeart/2018/5/layout/IconLeaf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78D7DB5F-B634-4D86-9FC4-6ABD648D2956}">
      <dgm:prSet custT="1"/>
      <dgm:spPr/>
      <dgm:t>
        <a:bodyPr/>
        <a:lstStyle/>
        <a:p>
          <a:pPr rtl="0">
            <a:lnSpc>
              <a:spcPct val="100000"/>
            </a:lnSpc>
            <a:defRPr cap="all"/>
          </a:pPr>
          <a:r>
            <a:rPr lang="en-US" sz="1600" b="0" i="0">
              <a:latin typeface="Calibri Light"/>
              <a:cs typeface="Times New Roman"/>
            </a:rPr>
            <a:t>Scaling the systems linearly incurs huge software licenses and maintenance costs. </a:t>
          </a:r>
          <a:r>
            <a:rPr lang="en-US" sz="1600">
              <a:latin typeface="Calibri Light"/>
              <a:cs typeface="Times New Roman"/>
            </a:rPr>
            <a:t> </a:t>
          </a:r>
        </a:p>
      </dgm:t>
    </dgm:pt>
    <dgm:pt modelId="{EFE4A8C4-CC5B-43AD-9A32-3CA7FC15AB91}" type="parTrans" cxnId="{E05B3C39-C7E5-4268-87C0-3941BADE3FB0}">
      <dgm:prSet/>
      <dgm:spPr/>
      <dgm:t>
        <a:bodyPr/>
        <a:lstStyle/>
        <a:p>
          <a:endParaRPr lang="en-US"/>
        </a:p>
      </dgm:t>
    </dgm:pt>
    <dgm:pt modelId="{C42A76CC-39D8-4134-A9D8-091796F238CF}" type="sibTrans" cxnId="{E05B3C39-C7E5-4268-87C0-3941BADE3FB0}">
      <dgm:prSet/>
      <dgm:spPr/>
      <dgm:t>
        <a:bodyPr/>
        <a:lstStyle/>
        <a:p>
          <a:endParaRPr lang="en-US"/>
        </a:p>
      </dgm:t>
    </dgm:pt>
    <dgm:pt modelId="{E01D9EB1-812A-4FD8-BB3B-A3ABF73EC55A}">
      <dgm:prSet custT="1"/>
      <dgm:spPr/>
      <dgm:t>
        <a:bodyPr/>
        <a:lstStyle/>
        <a:p>
          <a:pPr>
            <a:lnSpc>
              <a:spcPct val="100000"/>
            </a:lnSpc>
            <a:defRPr cap="all"/>
          </a:pPr>
          <a:r>
            <a:rPr lang="en-US" sz="1600" b="0" i="0">
              <a:latin typeface="Calibri Light"/>
              <a:cs typeface="Times New Roman"/>
            </a:rPr>
            <a:t>Analytical processing ability of the systems becomes increasingly inefficient as data computation is performed centrally. </a:t>
          </a:r>
          <a:endParaRPr lang="en-US" sz="1600">
            <a:latin typeface="Calibri Light"/>
            <a:cs typeface="Times New Roman"/>
          </a:endParaRPr>
        </a:p>
      </dgm:t>
    </dgm:pt>
    <dgm:pt modelId="{DA73F75C-7457-4A49-8BF4-2A64E4901E60}" type="parTrans" cxnId="{B173C174-20C8-48A5-9D9A-2249C6116F35}">
      <dgm:prSet/>
      <dgm:spPr/>
      <dgm:t>
        <a:bodyPr/>
        <a:lstStyle/>
        <a:p>
          <a:endParaRPr lang="en-US"/>
        </a:p>
      </dgm:t>
    </dgm:pt>
    <dgm:pt modelId="{153F201F-F5AC-45BB-B7C1-DD155A204DFF}" type="sibTrans" cxnId="{B173C174-20C8-48A5-9D9A-2249C6116F35}">
      <dgm:prSet/>
      <dgm:spPr/>
      <dgm:t>
        <a:bodyPr/>
        <a:lstStyle/>
        <a:p>
          <a:endParaRPr lang="en-US"/>
        </a:p>
      </dgm:t>
    </dgm:pt>
    <dgm:pt modelId="{ACB5E30A-BF60-4A7F-90F5-A7704DED9003}">
      <dgm:prSet custT="1"/>
      <dgm:spPr/>
      <dgm:t>
        <a:bodyPr/>
        <a:lstStyle/>
        <a:p>
          <a:pPr>
            <a:lnSpc>
              <a:spcPct val="100000"/>
            </a:lnSpc>
            <a:defRPr cap="all"/>
          </a:pPr>
          <a:r>
            <a:rPr lang="en-US" sz="1600" b="0" i="0">
              <a:latin typeface="Calibri Light"/>
              <a:cs typeface="Times New Roman"/>
            </a:rPr>
            <a:t>Maintenance and Operations are difficult as users of the system have limited control over the infrastructure. </a:t>
          </a:r>
          <a:endParaRPr lang="en-US" sz="1600">
            <a:latin typeface="Calibri Light"/>
            <a:cs typeface="Times New Roman"/>
          </a:endParaRPr>
        </a:p>
      </dgm:t>
    </dgm:pt>
    <dgm:pt modelId="{84438F7B-4EB3-4479-AC89-C6FE5ED4B4C2}" type="parTrans" cxnId="{9F876217-CA4A-408D-8F18-35DDCFC5A985}">
      <dgm:prSet/>
      <dgm:spPr/>
      <dgm:t>
        <a:bodyPr/>
        <a:lstStyle/>
        <a:p>
          <a:endParaRPr lang="en-US"/>
        </a:p>
      </dgm:t>
    </dgm:pt>
    <dgm:pt modelId="{28BA3CC6-A958-4EDF-8915-110B435A769C}" type="sibTrans" cxnId="{9F876217-CA4A-408D-8F18-35DDCFC5A985}">
      <dgm:prSet/>
      <dgm:spPr/>
      <dgm:t>
        <a:bodyPr/>
        <a:lstStyle/>
        <a:p>
          <a:endParaRPr lang="en-US"/>
        </a:p>
      </dgm:t>
    </dgm:pt>
    <dgm:pt modelId="{3D49F305-DF03-4F5F-8D64-2CCC9CF10B13}" type="pres">
      <dgm:prSet presAssocID="{D2CB8621-6FB7-4FB9-AA04-332C20AD938C}" presName="root" presStyleCnt="0">
        <dgm:presLayoutVars>
          <dgm:dir/>
          <dgm:resizeHandles val="exact"/>
        </dgm:presLayoutVars>
      </dgm:prSet>
      <dgm:spPr/>
    </dgm:pt>
    <dgm:pt modelId="{82FE7905-6E28-421C-8D0A-BC7647E633D2}" type="pres">
      <dgm:prSet presAssocID="{78D7DB5F-B634-4D86-9FC4-6ABD648D2956}" presName="compNode" presStyleCnt="0"/>
      <dgm:spPr/>
    </dgm:pt>
    <dgm:pt modelId="{F1B83FD0-AA41-4C78-9434-C1D4459278DE}" type="pres">
      <dgm:prSet presAssocID="{78D7DB5F-B634-4D86-9FC4-6ABD648D2956}" presName="iconBgRect" presStyleLbl="bgShp" presStyleIdx="0" presStyleCnt="3"/>
      <dgm:spPr>
        <a:prstGeom prst="round2DiagRect">
          <a:avLst>
            <a:gd name="adj1" fmla="val 29727"/>
            <a:gd name="adj2" fmla="val 0"/>
          </a:avLst>
        </a:prstGeom>
      </dgm:spPr>
    </dgm:pt>
    <dgm:pt modelId="{AC7F29D6-D3B2-4E91-9EDD-DD1CBD1FF687}" type="pres">
      <dgm:prSet presAssocID="{78D7DB5F-B634-4D86-9FC4-6ABD648D295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oud Computing"/>
        </a:ext>
      </dgm:extLst>
    </dgm:pt>
    <dgm:pt modelId="{6108C973-2B62-46FC-971E-3730A2B75A1D}" type="pres">
      <dgm:prSet presAssocID="{78D7DB5F-B634-4D86-9FC4-6ABD648D2956}" presName="spaceRect" presStyleCnt="0"/>
      <dgm:spPr/>
    </dgm:pt>
    <dgm:pt modelId="{6DC59814-0D78-48FC-AC51-FA455C97E0E0}" type="pres">
      <dgm:prSet presAssocID="{78D7DB5F-B634-4D86-9FC4-6ABD648D2956}" presName="textRect" presStyleLbl="revTx" presStyleIdx="0" presStyleCnt="3">
        <dgm:presLayoutVars>
          <dgm:chMax val="1"/>
          <dgm:chPref val="1"/>
        </dgm:presLayoutVars>
      </dgm:prSet>
      <dgm:spPr/>
    </dgm:pt>
    <dgm:pt modelId="{7B60BE53-3782-4EC5-B1A1-DE8CC3B56321}" type="pres">
      <dgm:prSet presAssocID="{C42A76CC-39D8-4134-A9D8-091796F238CF}" presName="sibTrans" presStyleCnt="0"/>
      <dgm:spPr/>
    </dgm:pt>
    <dgm:pt modelId="{B365114F-C937-49CC-86E7-1E3DA08F7291}" type="pres">
      <dgm:prSet presAssocID="{E01D9EB1-812A-4FD8-BB3B-A3ABF73EC55A}" presName="compNode" presStyleCnt="0"/>
      <dgm:spPr/>
    </dgm:pt>
    <dgm:pt modelId="{AD5102A9-2B36-41DE-9AB1-F025FA2DEE6D}" type="pres">
      <dgm:prSet presAssocID="{E01D9EB1-812A-4FD8-BB3B-A3ABF73EC55A}" presName="iconBgRect" presStyleLbl="bgShp" presStyleIdx="1" presStyleCnt="3"/>
      <dgm:spPr>
        <a:prstGeom prst="round2DiagRect">
          <a:avLst>
            <a:gd name="adj1" fmla="val 29727"/>
            <a:gd name="adj2" fmla="val 0"/>
          </a:avLst>
        </a:prstGeom>
      </dgm:spPr>
    </dgm:pt>
    <dgm:pt modelId="{296DB5A2-BD69-4CA7-ABF1-9650F6C15076}" type="pres">
      <dgm:prSet presAssocID="{E01D9EB1-812A-4FD8-BB3B-A3ABF73EC55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tabase"/>
        </a:ext>
      </dgm:extLst>
    </dgm:pt>
    <dgm:pt modelId="{225E29E3-58D5-4B3C-9AF5-9A15509CEEB9}" type="pres">
      <dgm:prSet presAssocID="{E01D9EB1-812A-4FD8-BB3B-A3ABF73EC55A}" presName="spaceRect" presStyleCnt="0"/>
      <dgm:spPr/>
    </dgm:pt>
    <dgm:pt modelId="{D7AC4C8A-1078-4C7A-A1C9-CEFF2663B275}" type="pres">
      <dgm:prSet presAssocID="{E01D9EB1-812A-4FD8-BB3B-A3ABF73EC55A}" presName="textRect" presStyleLbl="revTx" presStyleIdx="1" presStyleCnt="3">
        <dgm:presLayoutVars>
          <dgm:chMax val="1"/>
          <dgm:chPref val="1"/>
        </dgm:presLayoutVars>
      </dgm:prSet>
      <dgm:spPr/>
    </dgm:pt>
    <dgm:pt modelId="{F3970B94-9D42-4B5A-B2E4-9F4E70463E80}" type="pres">
      <dgm:prSet presAssocID="{153F201F-F5AC-45BB-B7C1-DD155A204DFF}" presName="sibTrans" presStyleCnt="0"/>
      <dgm:spPr/>
    </dgm:pt>
    <dgm:pt modelId="{11CB4B73-5E0A-417F-9ED9-E9182E770213}" type="pres">
      <dgm:prSet presAssocID="{ACB5E30A-BF60-4A7F-90F5-A7704DED9003}" presName="compNode" presStyleCnt="0"/>
      <dgm:spPr/>
    </dgm:pt>
    <dgm:pt modelId="{DE3596E0-86EF-42C7-87C7-F9D201775C21}" type="pres">
      <dgm:prSet presAssocID="{ACB5E30A-BF60-4A7F-90F5-A7704DED9003}" presName="iconBgRect" presStyleLbl="bgShp" presStyleIdx="2" presStyleCnt="3"/>
      <dgm:spPr>
        <a:prstGeom prst="round2DiagRect">
          <a:avLst>
            <a:gd name="adj1" fmla="val 29727"/>
            <a:gd name="adj2" fmla="val 0"/>
          </a:avLst>
        </a:prstGeom>
      </dgm:spPr>
    </dgm:pt>
    <dgm:pt modelId="{894B99CD-F191-4B2F-BC63-6B87EBDFE619}" type="pres">
      <dgm:prSet presAssocID="{ACB5E30A-BF60-4A7F-90F5-A7704DED900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rocessor"/>
        </a:ext>
      </dgm:extLst>
    </dgm:pt>
    <dgm:pt modelId="{AC586AB8-099F-4EDD-A3B6-CC22931B3A54}" type="pres">
      <dgm:prSet presAssocID="{ACB5E30A-BF60-4A7F-90F5-A7704DED9003}" presName="spaceRect" presStyleCnt="0"/>
      <dgm:spPr/>
    </dgm:pt>
    <dgm:pt modelId="{EB209506-4A76-4CDA-93A1-B9E8299A7D15}" type="pres">
      <dgm:prSet presAssocID="{ACB5E30A-BF60-4A7F-90F5-A7704DED9003}" presName="textRect" presStyleLbl="revTx" presStyleIdx="2" presStyleCnt="3">
        <dgm:presLayoutVars>
          <dgm:chMax val="1"/>
          <dgm:chPref val="1"/>
        </dgm:presLayoutVars>
      </dgm:prSet>
      <dgm:spPr/>
    </dgm:pt>
  </dgm:ptLst>
  <dgm:cxnLst>
    <dgm:cxn modelId="{9F876217-CA4A-408D-8F18-35DDCFC5A985}" srcId="{D2CB8621-6FB7-4FB9-AA04-332C20AD938C}" destId="{ACB5E30A-BF60-4A7F-90F5-A7704DED9003}" srcOrd="2" destOrd="0" parTransId="{84438F7B-4EB3-4479-AC89-C6FE5ED4B4C2}" sibTransId="{28BA3CC6-A958-4EDF-8915-110B435A769C}"/>
    <dgm:cxn modelId="{234EBD1A-622A-40E0-853C-4F9A647C739A}" type="presOf" srcId="{ACB5E30A-BF60-4A7F-90F5-A7704DED9003}" destId="{EB209506-4A76-4CDA-93A1-B9E8299A7D15}" srcOrd="0" destOrd="0" presId="urn:microsoft.com/office/officeart/2018/5/layout/IconLeafLabelList"/>
    <dgm:cxn modelId="{E05B3C39-C7E5-4268-87C0-3941BADE3FB0}" srcId="{D2CB8621-6FB7-4FB9-AA04-332C20AD938C}" destId="{78D7DB5F-B634-4D86-9FC4-6ABD648D2956}" srcOrd="0" destOrd="0" parTransId="{EFE4A8C4-CC5B-43AD-9A32-3CA7FC15AB91}" sibTransId="{C42A76CC-39D8-4134-A9D8-091796F238CF}"/>
    <dgm:cxn modelId="{308EE073-0192-4608-8E8F-6A416D1D40ED}" type="presOf" srcId="{78D7DB5F-B634-4D86-9FC4-6ABD648D2956}" destId="{6DC59814-0D78-48FC-AC51-FA455C97E0E0}" srcOrd="0" destOrd="0" presId="urn:microsoft.com/office/officeart/2018/5/layout/IconLeafLabelList"/>
    <dgm:cxn modelId="{B173C174-20C8-48A5-9D9A-2249C6116F35}" srcId="{D2CB8621-6FB7-4FB9-AA04-332C20AD938C}" destId="{E01D9EB1-812A-4FD8-BB3B-A3ABF73EC55A}" srcOrd="1" destOrd="0" parTransId="{DA73F75C-7457-4A49-8BF4-2A64E4901E60}" sibTransId="{153F201F-F5AC-45BB-B7C1-DD155A204DFF}"/>
    <dgm:cxn modelId="{1657B777-ABD3-49DE-84F3-AA76CEBB6B7A}" type="presOf" srcId="{E01D9EB1-812A-4FD8-BB3B-A3ABF73EC55A}" destId="{D7AC4C8A-1078-4C7A-A1C9-CEFF2663B275}" srcOrd="0" destOrd="0" presId="urn:microsoft.com/office/officeart/2018/5/layout/IconLeafLabelList"/>
    <dgm:cxn modelId="{9C0522BC-A9A8-43C0-B2BC-7BE82FE36309}" type="presOf" srcId="{D2CB8621-6FB7-4FB9-AA04-332C20AD938C}" destId="{3D49F305-DF03-4F5F-8D64-2CCC9CF10B13}" srcOrd="0" destOrd="0" presId="urn:microsoft.com/office/officeart/2018/5/layout/IconLeafLabelList"/>
    <dgm:cxn modelId="{5C762D70-4C24-4CC4-9A5B-A098A1750A4B}" type="presParOf" srcId="{3D49F305-DF03-4F5F-8D64-2CCC9CF10B13}" destId="{82FE7905-6E28-421C-8D0A-BC7647E633D2}" srcOrd="0" destOrd="0" presId="urn:microsoft.com/office/officeart/2018/5/layout/IconLeafLabelList"/>
    <dgm:cxn modelId="{2A486E69-CB57-4679-90CA-41E66F8ED21A}" type="presParOf" srcId="{82FE7905-6E28-421C-8D0A-BC7647E633D2}" destId="{F1B83FD0-AA41-4C78-9434-C1D4459278DE}" srcOrd="0" destOrd="0" presId="urn:microsoft.com/office/officeart/2018/5/layout/IconLeafLabelList"/>
    <dgm:cxn modelId="{CF96903A-342C-4437-8DCD-E0AF61A7EF28}" type="presParOf" srcId="{82FE7905-6E28-421C-8D0A-BC7647E633D2}" destId="{AC7F29D6-D3B2-4E91-9EDD-DD1CBD1FF687}" srcOrd="1" destOrd="0" presId="urn:microsoft.com/office/officeart/2018/5/layout/IconLeafLabelList"/>
    <dgm:cxn modelId="{41463FD6-FC55-4EE0-B71E-5B38AD81F1FE}" type="presParOf" srcId="{82FE7905-6E28-421C-8D0A-BC7647E633D2}" destId="{6108C973-2B62-46FC-971E-3730A2B75A1D}" srcOrd="2" destOrd="0" presId="urn:microsoft.com/office/officeart/2018/5/layout/IconLeafLabelList"/>
    <dgm:cxn modelId="{33879CCD-06C5-4B9A-99B2-9A758BBEA0E5}" type="presParOf" srcId="{82FE7905-6E28-421C-8D0A-BC7647E633D2}" destId="{6DC59814-0D78-48FC-AC51-FA455C97E0E0}" srcOrd="3" destOrd="0" presId="urn:microsoft.com/office/officeart/2018/5/layout/IconLeafLabelList"/>
    <dgm:cxn modelId="{0CEA7CA6-A6E0-4E9E-8D19-1196983EDD04}" type="presParOf" srcId="{3D49F305-DF03-4F5F-8D64-2CCC9CF10B13}" destId="{7B60BE53-3782-4EC5-B1A1-DE8CC3B56321}" srcOrd="1" destOrd="0" presId="urn:microsoft.com/office/officeart/2018/5/layout/IconLeafLabelList"/>
    <dgm:cxn modelId="{15663D62-56DE-4A30-9976-E5CEE1C3C8ED}" type="presParOf" srcId="{3D49F305-DF03-4F5F-8D64-2CCC9CF10B13}" destId="{B365114F-C937-49CC-86E7-1E3DA08F7291}" srcOrd="2" destOrd="0" presId="urn:microsoft.com/office/officeart/2018/5/layout/IconLeafLabelList"/>
    <dgm:cxn modelId="{C204A67F-55C8-4BA1-A211-8F06B043E70E}" type="presParOf" srcId="{B365114F-C937-49CC-86E7-1E3DA08F7291}" destId="{AD5102A9-2B36-41DE-9AB1-F025FA2DEE6D}" srcOrd="0" destOrd="0" presId="urn:microsoft.com/office/officeart/2018/5/layout/IconLeafLabelList"/>
    <dgm:cxn modelId="{54D7CE26-1EA5-4A13-B249-D49E70361F36}" type="presParOf" srcId="{B365114F-C937-49CC-86E7-1E3DA08F7291}" destId="{296DB5A2-BD69-4CA7-ABF1-9650F6C15076}" srcOrd="1" destOrd="0" presId="urn:microsoft.com/office/officeart/2018/5/layout/IconLeafLabelList"/>
    <dgm:cxn modelId="{83925DA1-73AE-4A09-986F-6170B881A019}" type="presParOf" srcId="{B365114F-C937-49CC-86E7-1E3DA08F7291}" destId="{225E29E3-58D5-4B3C-9AF5-9A15509CEEB9}" srcOrd="2" destOrd="0" presId="urn:microsoft.com/office/officeart/2018/5/layout/IconLeafLabelList"/>
    <dgm:cxn modelId="{897C55A8-A6DA-46BD-A619-AA5B5377B2D7}" type="presParOf" srcId="{B365114F-C937-49CC-86E7-1E3DA08F7291}" destId="{D7AC4C8A-1078-4C7A-A1C9-CEFF2663B275}" srcOrd="3" destOrd="0" presId="urn:microsoft.com/office/officeart/2018/5/layout/IconLeafLabelList"/>
    <dgm:cxn modelId="{E046B371-D535-44BD-B077-FC0138AB2D9D}" type="presParOf" srcId="{3D49F305-DF03-4F5F-8D64-2CCC9CF10B13}" destId="{F3970B94-9D42-4B5A-B2E4-9F4E70463E80}" srcOrd="3" destOrd="0" presId="urn:microsoft.com/office/officeart/2018/5/layout/IconLeafLabelList"/>
    <dgm:cxn modelId="{422A6905-1F45-4AFB-9884-A3C719D60D96}" type="presParOf" srcId="{3D49F305-DF03-4F5F-8D64-2CCC9CF10B13}" destId="{11CB4B73-5E0A-417F-9ED9-E9182E770213}" srcOrd="4" destOrd="0" presId="urn:microsoft.com/office/officeart/2018/5/layout/IconLeafLabelList"/>
    <dgm:cxn modelId="{4F06A7BE-1334-4791-A94F-AD1007B81A33}" type="presParOf" srcId="{11CB4B73-5E0A-417F-9ED9-E9182E770213}" destId="{DE3596E0-86EF-42C7-87C7-F9D201775C21}" srcOrd="0" destOrd="0" presId="urn:microsoft.com/office/officeart/2018/5/layout/IconLeafLabelList"/>
    <dgm:cxn modelId="{15F2351E-D848-4793-B572-C26CB7BA0CA3}" type="presParOf" srcId="{11CB4B73-5E0A-417F-9ED9-E9182E770213}" destId="{894B99CD-F191-4B2F-BC63-6B87EBDFE619}" srcOrd="1" destOrd="0" presId="urn:microsoft.com/office/officeart/2018/5/layout/IconLeafLabelList"/>
    <dgm:cxn modelId="{EF0551B4-59C4-458E-882A-E6BF0767C8F4}" type="presParOf" srcId="{11CB4B73-5E0A-417F-9ED9-E9182E770213}" destId="{AC586AB8-099F-4EDD-A3B6-CC22931B3A54}" srcOrd="2" destOrd="0" presId="urn:microsoft.com/office/officeart/2018/5/layout/IconLeafLabelList"/>
    <dgm:cxn modelId="{D17BBF31-39DC-491B-A0C8-580E4CF59943}" type="presParOf" srcId="{11CB4B73-5E0A-417F-9ED9-E9182E770213}" destId="{EB209506-4A76-4CDA-93A1-B9E8299A7D15}" srcOrd="3" destOrd="0" presId="urn:microsoft.com/office/officeart/2018/5/layout/IconLeaf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F943055-2435-4454-BB9D-9249EAAC1F62}" type="doc">
      <dgm:prSet loTypeId="urn:microsoft.com/office/officeart/2005/8/layout/chart3" loCatId="cycle" qsTypeId="urn:microsoft.com/office/officeart/2005/8/quickstyle/simple1" qsCatId="simple" csTypeId="urn:microsoft.com/office/officeart/2005/8/colors/colorful1" csCatId="colorful" phldr="1"/>
      <dgm:spPr/>
      <dgm:t>
        <a:bodyPr/>
        <a:lstStyle/>
        <a:p>
          <a:endParaRPr lang="en-US"/>
        </a:p>
      </dgm:t>
    </dgm:pt>
    <dgm:pt modelId="{77EAB3DA-6B7F-47C9-B823-F80C4D30507B}">
      <dgm:prSet/>
      <dgm:spPr/>
      <dgm:t>
        <a:bodyPr/>
        <a:lstStyle/>
        <a:p>
          <a:r>
            <a:rPr lang="en-US"/>
            <a:t>Milestones</a:t>
          </a:r>
        </a:p>
      </dgm:t>
    </dgm:pt>
    <dgm:pt modelId="{78424F30-95B2-445F-A9AE-113387956B7E}" type="parTrans" cxnId="{F04416DA-4F70-4984-BCD2-9D34E89D40CB}">
      <dgm:prSet/>
      <dgm:spPr/>
      <dgm:t>
        <a:bodyPr/>
        <a:lstStyle/>
        <a:p>
          <a:endParaRPr lang="en-US"/>
        </a:p>
      </dgm:t>
    </dgm:pt>
    <dgm:pt modelId="{1DC94876-93A3-45E3-9509-0FFB80AED89A}" type="sibTrans" cxnId="{F04416DA-4F70-4984-BCD2-9D34E89D40CB}">
      <dgm:prSet/>
      <dgm:spPr/>
      <dgm:t>
        <a:bodyPr/>
        <a:lstStyle/>
        <a:p>
          <a:endParaRPr lang="en-US"/>
        </a:p>
      </dgm:t>
    </dgm:pt>
    <dgm:pt modelId="{ADFACE95-FCF4-4CFF-9440-4515A2CA1B38}">
      <dgm:prSet/>
      <dgm:spPr/>
      <dgm:t>
        <a:bodyPr/>
        <a:lstStyle/>
        <a:p>
          <a:r>
            <a:rPr lang="en-US"/>
            <a:t>Goals, Objectives &amp; Scope</a:t>
          </a:r>
        </a:p>
      </dgm:t>
    </dgm:pt>
    <dgm:pt modelId="{50734237-6D7E-48B9-AECA-D7951C967E59}" type="parTrans" cxnId="{B70645AC-10D4-4239-9972-00FEC74EB19B}">
      <dgm:prSet/>
      <dgm:spPr/>
      <dgm:t>
        <a:bodyPr/>
        <a:lstStyle/>
        <a:p>
          <a:endParaRPr lang="en-US"/>
        </a:p>
      </dgm:t>
    </dgm:pt>
    <dgm:pt modelId="{E3A5C544-3639-4741-8EA2-74C0ACD16802}" type="sibTrans" cxnId="{B70645AC-10D4-4239-9972-00FEC74EB19B}">
      <dgm:prSet/>
      <dgm:spPr/>
      <dgm:t>
        <a:bodyPr/>
        <a:lstStyle/>
        <a:p>
          <a:endParaRPr lang="en-US"/>
        </a:p>
      </dgm:t>
    </dgm:pt>
    <dgm:pt modelId="{DE598665-8840-4738-B56E-4D331D6448DC}">
      <dgm:prSet/>
      <dgm:spPr/>
      <dgm:t>
        <a:bodyPr/>
        <a:lstStyle/>
        <a:p>
          <a:r>
            <a:rPr lang="en-US"/>
            <a:t>Core Team Roster</a:t>
          </a:r>
        </a:p>
      </dgm:t>
    </dgm:pt>
    <dgm:pt modelId="{E3E78537-2838-40E6-A57A-2A6FB9FF1C25}" type="parTrans" cxnId="{D6E86E08-5DFE-4880-8DCD-B83B04B93CB6}">
      <dgm:prSet/>
      <dgm:spPr/>
      <dgm:t>
        <a:bodyPr/>
        <a:lstStyle/>
        <a:p>
          <a:endParaRPr lang="en-US"/>
        </a:p>
      </dgm:t>
    </dgm:pt>
    <dgm:pt modelId="{9C17C6AA-562A-4FAC-9BA8-D2F946F6FF90}" type="sibTrans" cxnId="{D6E86E08-5DFE-4880-8DCD-B83B04B93CB6}">
      <dgm:prSet/>
      <dgm:spPr/>
      <dgm:t>
        <a:bodyPr/>
        <a:lstStyle/>
        <a:p>
          <a:endParaRPr lang="en-US"/>
        </a:p>
      </dgm:t>
    </dgm:pt>
    <dgm:pt modelId="{3626FD0E-4A83-4988-B9E2-A3D1FBEADB04}">
      <dgm:prSet/>
      <dgm:spPr/>
      <dgm:t>
        <a:bodyPr/>
        <a:lstStyle/>
        <a:p>
          <a:r>
            <a:rPr lang="en-US"/>
            <a:t>Communication Plan</a:t>
          </a:r>
        </a:p>
      </dgm:t>
    </dgm:pt>
    <dgm:pt modelId="{2B0D955B-C224-4C6E-B5EC-0ED48E24E667}" type="parTrans" cxnId="{4F508BB9-AE36-465A-8EA5-E401339FC6D7}">
      <dgm:prSet/>
      <dgm:spPr/>
      <dgm:t>
        <a:bodyPr/>
        <a:lstStyle/>
        <a:p>
          <a:endParaRPr lang="en-US"/>
        </a:p>
      </dgm:t>
    </dgm:pt>
    <dgm:pt modelId="{2E834ECA-F143-4A5A-8831-0C8BF0E44404}" type="sibTrans" cxnId="{4F508BB9-AE36-465A-8EA5-E401339FC6D7}">
      <dgm:prSet/>
      <dgm:spPr/>
      <dgm:t>
        <a:bodyPr/>
        <a:lstStyle/>
        <a:p>
          <a:endParaRPr lang="en-US"/>
        </a:p>
      </dgm:t>
    </dgm:pt>
    <dgm:pt modelId="{FAC7D5DF-0EE4-4C8E-A9DF-7AB71B486517}">
      <dgm:prSet/>
      <dgm:spPr/>
      <dgm:t>
        <a:bodyPr/>
        <a:lstStyle/>
        <a:p>
          <a:r>
            <a:rPr lang="en-US"/>
            <a:t>High Level Training Plan</a:t>
          </a:r>
        </a:p>
      </dgm:t>
    </dgm:pt>
    <dgm:pt modelId="{48D4452D-6BFA-459E-9F93-B31A1B974C2E}" type="parTrans" cxnId="{1C9DC23C-513C-4ACD-B11D-ABFBB54CDB68}">
      <dgm:prSet/>
      <dgm:spPr/>
      <dgm:t>
        <a:bodyPr/>
        <a:lstStyle/>
        <a:p>
          <a:endParaRPr lang="en-US"/>
        </a:p>
      </dgm:t>
    </dgm:pt>
    <dgm:pt modelId="{F2F70ADB-9340-4D36-ABDF-2A4482A95B9C}" type="sibTrans" cxnId="{1C9DC23C-513C-4ACD-B11D-ABFBB54CDB68}">
      <dgm:prSet/>
      <dgm:spPr/>
      <dgm:t>
        <a:bodyPr/>
        <a:lstStyle/>
        <a:p>
          <a:endParaRPr lang="en-US"/>
        </a:p>
      </dgm:t>
    </dgm:pt>
    <dgm:pt modelId="{6B8CE33B-58F2-4C0A-947F-23B3D3615EF5}">
      <dgm:prSet/>
      <dgm:spPr/>
      <dgm:t>
        <a:bodyPr/>
        <a:lstStyle/>
        <a:p>
          <a:r>
            <a:rPr lang="en-US"/>
            <a:t>High Level Deployment Plan</a:t>
          </a:r>
        </a:p>
      </dgm:t>
    </dgm:pt>
    <dgm:pt modelId="{1B3B276E-8AA0-4F9D-A7C1-DD7C623FE053}" type="parTrans" cxnId="{05F24A0C-4471-43E5-B64A-9F327A79EFA5}">
      <dgm:prSet/>
      <dgm:spPr/>
      <dgm:t>
        <a:bodyPr/>
        <a:lstStyle/>
        <a:p>
          <a:endParaRPr lang="en-US"/>
        </a:p>
      </dgm:t>
    </dgm:pt>
    <dgm:pt modelId="{28B81232-B81F-41DC-8D60-4F24BAB94019}" type="sibTrans" cxnId="{05F24A0C-4471-43E5-B64A-9F327A79EFA5}">
      <dgm:prSet/>
      <dgm:spPr/>
      <dgm:t>
        <a:bodyPr/>
        <a:lstStyle/>
        <a:p>
          <a:endParaRPr lang="en-US"/>
        </a:p>
      </dgm:t>
    </dgm:pt>
    <dgm:pt modelId="{804A421B-2742-4CCA-A4FA-4811BE661260}">
      <dgm:prSet/>
      <dgm:spPr/>
      <dgm:t>
        <a:bodyPr/>
        <a:lstStyle/>
        <a:p>
          <a:r>
            <a:rPr lang="en-US"/>
            <a:t>Key Performance Indicators</a:t>
          </a:r>
        </a:p>
      </dgm:t>
    </dgm:pt>
    <dgm:pt modelId="{63F21680-5917-49D7-8168-8D088425E743}" type="parTrans" cxnId="{5BD4BBBB-EBC9-443D-9658-576AD5BA7A3E}">
      <dgm:prSet/>
      <dgm:spPr/>
      <dgm:t>
        <a:bodyPr/>
        <a:lstStyle/>
        <a:p>
          <a:endParaRPr lang="en-US"/>
        </a:p>
      </dgm:t>
    </dgm:pt>
    <dgm:pt modelId="{7FA18D61-911C-4E2D-B5BB-B30F5A6D69D7}" type="sibTrans" cxnId="{5BD4BBBB-EBC9-443D-9658-576AD5BA7A3E}">
      <dgm:prSet/>
      <dgm:spPr/>
      <dgm:t>
        <a:bodyPr/>
        <a:lstStyle/>
        <a:p>
          <a:endParaRPr lang="en-US"/>
        </a:p>
      </dgm:t>
    </dgm:pt>
    <dgm:pt modelId="{39B5E147-615E-4845-ADF8-6FAAEF2E0B73}" type="pres">
      <dgm:prSet presAssocID="{3F943055-2435-4454-BB9D-9249EAAC1F62}" presName="compositeShape" presStyleCnt="0">
        <dgm:presLayoutVars>
          <dgm:chMax val="7"/>
          <dgm:dir/>
          <dgm:resizeHandles val="exact"/>
        </dgm:presLayoutVars>
      </dgm:prSet>
      <dgm:spPr/>
    </dgm:pt>
    <dgm:pt modelId="{75ED7894-B832-43F3-8CAB-93CEC9B5EDEC}" type="pres">
      <dgm:prSet presAssocID="{3F943055-2435-4454-BB9D-9249EAAC1F62}" presName="wedge1" presStyleLbl="node1" presStyleIdx="0" presStyleCnt="7"/>
      <dgm:spPr/>
    </dgm:pt>
    <dgm:pt modelId="{19B5C739-74C6-4CEC-8A92-51ABCA0828C4}" type="pres">
      <dgm:prSet presAssocID="{3F943055-2435-4454-BB9D-9249EAAC1F62}" presName="wedge1Tx" presStyleLbl="node1" presStyleIdx="0" presStyleCnt="7">
        <dgm:presLayoutVars>
          <dgm:chMax val="0"/>
          <dgm:chPref val="0"/>
          <dgm:bulletEnabled val="1"/>
        </dgm:presLayoutVars>
      </dgm:prSet>
      <dgm:spPr/>
    </dgm:pt>
    <dgm:pt modelId="{672E1AF6-0594-42EB-A1D2-87912F478B37}" type="pres">
      <dgm:prSet presAssocID="{3F943055-2435-4454-BB9D-9249EAAC1F62}" presName="wedge2" presStyleLbl="node1" presStyleIdx="1" presStyleCnt="7"/>
      <dgm:spPr/>
    </dgm:pt>
    <dgm:pt modelId="{8E8865A5-6877-4958-A602-8E4FB9FBE7BD}" type="pres">
      <dgm:prSet presAssocID="{3F943055-2435-4454-BB9D-9249EAAC1F62}" presName="wedge2Tx" presStyleLbl="node1" presStyleIdx="1" presStyleCnt="7">
        <dgm:presLayoutVars>
          <dgm:chMax val="0"/>
          <dgm:chPref val="0"/>
          <dgm:bulletEnabled val="1"/>
        </dgm:presLayoutVars>
      </dgm:prSet>
      <dgm:spPr/>
    </dgm:pt>
    <dgm:pt modelId="{A83DD71F-979D-4266-B987-9E30DBEAFE93}" type="pres">
      <dgm:prSet presAssocID="{3F943055-2435-4454-BB9D-9249EAAC1F62}" presName="wedge3" presStyleLbl="node1" presStyleIdx="2" presStyleCnt="7"/>
      <dgm:spPr/>
    </dgm:pt>
    <dgm:pt modelId="{609B1EB5-1363-4805-9C2B-72278D80EF04}" type="pres">
      <dgm:prSet presAssocID="{3F943055-2435-4454-BB9D-9249EAAC1F62}" presName="wedge3Tx" presStyleLbl="node1" presStyleIdx="2" presStyleCnt="7">
        <dgm:presLayoutVars>
          <dgm:chMax val="0"/>
          <dgm:chPref val="0"/>
          <dgm:bulletEnabled val="1"/>
        </dgm:presLayoutVars>
      </dgm:prSet>
      <dgm:spPr/>
    </dgm:pt>
    <dgm:pt modelId="{0C080C69-35EF-4DBA-ADBE-CE14478778D9}" type="pres">
      <dgm:prSet presAssocID="{3F943055-2435-4454-BB9D-9249EAAC1F62}" presName="wedge4" presStyleLbl="node1" presStyleIdx="3" presStyleCnt="7"/>
      <dgm:spPr/>
    </dgm:pt>
    <dgm:pt modelId="{B0C31358-A3D8-4918-8580-FC0F344CC1F4}" type="pres">
      <dgm:prSet presAssocID="{3F943055-2435-4454-BB9D-9249EAAC1F62}" presName="wedge4Tx" presStyleLbl="node1" presStyleIdx="3" presStyleCnt="7">
        <dgm:presLayoutVars>
          <dgm:chMax val="0"/>
          <dgm:chPref val="0"/>
          <dgm:bulletEnabled val="1"/>
        </dgm:presLayoutVars>
      </dgm:prSet>
      <dgm:spPr/>
    </dgm:pt>
    <dgm:pt modelId="{64D48854-37FB-4AA3-9791-5FEE1CED84F1}" type="pres">
      <dgm:prSet presAssocID="{3F943055-2435-4454-BB9D-9249EAAC1F62}" presName="wedge5" presStyleLbl="node1" presStyleIdx="4" presStyleCnt="7"/>
      <dgm:spPr/>
    </dgm:pt>
    <dgm:pt modelId="{4953C8C5-3674-4A10-808F-A9BC03406887}" type="pres">
      <dgm:prSet presAssocID="{3F943055-2435-4454-BB9D-9249EAAC1F62}" presName="wedge5Tx" presStyleLbl="node1" presStyleIdx="4" presStyleCnt="7">
        <dgm:presLayoutVars>
          <dgm:chMax val="0"/>
          <dgm:chPref val="0"/>
          <dgm:bulletEnabled val="1"/>
        </dgm:presLayoutVars>
      </dgm:prSet>
      <dgm:spPr/>
    </dgm:pt>
    <dgm:pt modelId="{F8FAE529-3584-4A17-BF05-904103BD6B03}" type="pres">
      <dgm:prSet presAssocID="{3F943055-2435-4454-BB9D-9249EAAC1F62}" presName="wedge6" presStyleLbl="node1" presStyleIdx="5" presStyleCnt="7"/>
      <dgm:spPr/>
    </dgm:pt>
    <dgm:pt modelId="{9B7741DD-9B12-491A-A78E-C00D80CEC491}" type="pres">
      <dgm:prSet presAssocID="{3F943055-2435-4454-BB9D-9249EAAC1F62}" presName="wedge6Tx" presStyleLbl="node1" presStyleIdx="5" presStyleCnt="7">
        <dgm:presLayoutVars>
          <dgm:chMax val="0"/>
          <dgm:chPref val="0"/>
          <dgm:bulletEnabled val="1"/>
        </dgm:presLayoutVars>
      </dgm:prSet>
      <dgm:spPr/>
    </dgm:pt>
    <dgm:pt modelId="{B1414A70-2345-4741-B9D1-3855D5958B7F}" type="pres">
      <dgm:prSet presAssocID="{3F943055-2435-4454-BB9D-9249EAAC1F62}" presName="wedge7" presStyleLbl="node1" presStyleIdx="6" presStyleCnt="7" custScaleX="113047" custScaleY="107310"/>
      <dgm:spPr/>
    </dgm:pt>
    <dgm:pt modelId="{0EB97FD6-6B8F-400D-B9E9-AD9AE16EB6B2}" type="pres">
      <dgm:prSet presAssocID="{3F943055-2435-4454-BB9D-9249EAAC1F62}" presName="wedge7Tx" presStyleLbl="node1" presStyleIdx="6" presStyleCnt="7">
        <dgm:presLayoutVars>
          <dgm:chMax val="0"/>
          <dgm:chPref val="0"/>
          <dgm:bulletEnabled val="1"/>
        </dgm:presLayoutVars>
      </dgm:prSet>
      <dgm:spPr/>
    </dgm:pt>
  </dgm:ptLst>
  <dgm:cxnLst>
    <dgm:cxn modelId="{D6E86E08-5DFE-4880-8DCD-B83B04B93CB6}" srcId="{3F943055-2435-4454-BB9D-9249EAAC1F62}" destId="{DE598665-8840-4738-B56E-4D331D6448DC}" srcOrd="2" destOrd="0" parTransId="{E3E78537-2838-40E6-A57A-2A6FB9FF1C25}" sibTransId="{9C17C6AA-562A-4FAC-9BA8-D2F946F6FF90}"/>
    <dgm:cxn modelId="{05F24A0C-4471-43E5-B64A-9F327A79EFA5}" srcId="{3F943055-2435-4454-BB9D-9249EAAC1F62}" destId="{6B8CE33B-58F2-4C0A-947F-23B3D3615EF5}" srcOrd="5" destOrd="0" parTransId="{1B3B276E-8AA0-4F9D-A7C1-DD7C623FE053}" sibTransId="{28B81232-B81F-41DC-8D60-4F24BAB94019}"/>
    <dgm:cxn modelId="{4704E833-9BD5-4EB9-BA08-F45F97B60C4E}" type="presOf" srcId="{ADFACE95-FCF4-4CFF-9440-4515A2CA1B38}" destId="{672E1AF6-0594-42EB-A1D2-87912F478B37}" srcOrd="0" destOrd="0" presId="urn:microsoft.com/office/officeart/2005/8/layout/chart3"/>
    <dgm:cxn modelId="{B892AF38-7756-4D89-8500-872934E03EEF}" type="presOf" srcId="{77EAB3DA-6B7F-47C9-B823-F80C4D30507B}" destId="{75ED7894-B832-43F3-8CAB-93CEC9B5EDEC}" srcOrd="0" destOrd="0" presId="urn:microsoft.com/office/officeart/2005/8/layout/chart3"/>
    <dgm:cxn modelId="{1C9DC23C-513C-4ACD-B11D-ABFBB54CDB68}" srcId="{3F943055-2435-4454-BB9D-9249EAAC1F62}" destId="{FAC7D5DF-0EE4-4C8E-A9DF-7AB71B486517}" srcOrd="4" destOrd="0" parTransId="{48D4452D-6BFA-459E-9F93-B31A1B974C2E}" sibTransId="{F2F70ADB-9340-4D36-ABDF-2A4482A95B9C}"/>
    <dgm:cxn modelId="{08117B5E-4AEF-4404-9742-1564D4B9C0C8}" type="presOf" srcId="{FAC7D5DF-0EE4-4C8E-A9DF-7AB71B486517}" destId="{4953C8C5-3674-4A10-808F-A9BC03406887}" srcOrd="1" destOrd="0" presId="urn:microsoft.com/office/officeart/2005/8/layout/chart3"/>
    <dgm:cxn modelId="{2B58F062-C0B0-4801-B8CE-746F815F4306}" type="presOf" srcId="{ADFACE95-FCF4-4CFF-9440-4515A2CA1B38}" destId="{8E8865A5-6877-4958-A602-8E4FB9FBE7BD}" srcOrd="1" destOrd="0" presId="urn:microsoft.com/office/officeart/2005/8/layout/chart3"/>
    <dgm:cxn modelId="{0A2D9E48-6D5E-4687-8DCD-ADC7E1D84134}" type="presOf" srcId="{3626FD0E-4A83-4988-B9E2-A3D1FBEADB04}" destId="{0C080C69-35EF-4DBA-ADBE-CE14478778D9}" srcOrd="0" destOrd="0" presId="urn:microsoft.com/office/officeart/2005/8/layout/chart3"/>
    <dgm:cxn modelId="{D304776D-3294-4943-8E27-9570F2CAA35F}" type="presOf" srcId="{FAC7D5DF-0EE4-4C8E-A9DF-7AB71B486517}" destId="{64D48854-37FB-4AA3-9791-5FEE1CED84F1}" srcOrd="0" destOrd="0" presId="urn:microsoft.com/office/officeart/2005/8/layout/chart3"/>
    <dgm:cxn modelId="{583F287B-664D-45EC-935D-12199FEBD1FC}" type="presOf" srcId="{DE598665-8840-4738-B56E-4D331D6448DC}" destId="{A83DD71F-979D-4266-B987-9E30DBEAFE93}" srcOrd="0" destOrd="0" presId="urn:microsoft.com/office/officeart/2005/8/layout/chart3"/>
    <dgm:cxn modelId="{A86E4784-6F78-4461-832B-024D4A185669}" type="presOf" srcId="{6B8CE33B-58F2-4C0A-947F-23B3D3615EF5}" destId="{9B7741DD-9B12-491A-A78E-C00D80CEC491}" srcOrd="1" destOrd="0" presId="urn:microsoft.com/office/officeart/2005/8/layout/chart3"/>
    <dgm:cxn modelId="{F3B64E8F-B94A-4756-86B9-35A2963D665B}" type="presOf" srcId="{3626FD0E-4A83-4988-B9E2-A3D1FBEADB04}" destId="{B0C31358-A3D8-4918-8580-FC0F344CC1F4}" srcOrd="1" destOrd="0" presId="urn:microsoft.com/office/officeart/2005/8/layout/chart3"/>
    <dgm:cxn modelId="{6E25129D-57C3-4BD4-8208-31F426A2BC3F}" type="presOf" srcId="{804A421B-2742-4CCA-A4FA-4811BE661260}" destId="{B1414A70-2345-4741-B9D1-3855D5958B7F}" srcOrd="0" destOrd="0" presId="urn:microsoft.com/office/officeart/2005/8/layout/chart3"/>
    <dgm:cxn modelId="{4C8189A9-8F9D-4185-9042-C717EFFE04B0}" type="presOf" srcId="{6B8CE33B-58F2-4C0A-947F-23B3D3615EF5}" destId="{F8FAE529-3584-4A17-BF05-904103BD6B03}" srcOrd="0" destOrd="0" presId="urn:microsoft.com/office/officeart/2005/8/layout/chart3"/>
    <dgm:cxn modelId="{B70645AC-10D4-4239-9972-00FEC74EB19B}" srcId="{3F943055-2435-4454-BB9D-9249EAAC1F62}" destId="{ADFACE95-FCF4-4CFF-9440-4515A2CA1B38}" srcOrd="1" destOrd="0" parTransId="{50734237-6D7E-48B9-AECA-D7951C967E59}" sibTransId="{E3A5C544-3639-4741-8EA2-74C0ACD16802}"/>
    <dgm:cxn modelId="{601499AE-63CA-4D50-B5D3-DF9F31BB41BF}" type="presOf" srcId="{DE598665-8840-4738-B56E-4D331D6448DC}" destId="{609B1EB5-1363-4805-9C2B-72278D80EF04}" srcOrd="1" destOrd="0" presId="urn:microsoft.com/office/officeart/2005/8/layout/chart3"/>
    <dgm:cxn modelId="{4F508BB9-AE36-465A-8EA5-E401339FC6D7}" srcId="{3F943055-2435-4454-BB9D-9249EAAC1F62}" destId="{3626FD0E-4A83-4988-B9E2-A3D1FBEADB04}" srcOrd="3" destOrd="0" parTransId="{2B0D955B-C224-4C6E-B5EC-0ED48E24E667}" sibTransId="{2E834ECA-F143-4A5A-8831-0C8BF0E44404}"/>
    <dgm:cxn modelId="{047EA3BA-F8A7-4EC5-9223-5FF4EF8FA217}" type="presOf" srcId="{804A421B-2742-4CCA-A4FA-4811BE661260}" destId="{0EB97FD6-6B8F-400D-B9E9-AD9AE16EB6B2}" srcOrd="1" destOrd="0" presId="urn:microsoft.com/office/officeart/2005/8/layout/chart3"/>
    <dgm:cxn modelId="{5BD4BBBB-EBC9-443D-9658-576AD5BA7A3E}" srcId="{3F943055-2435-4454-BB9D-9249EAAC1F62}" destId="{804A421B-2742-4CCA-A4FA-4811BE661260}" srcOrd="6" destOrd="0" parTransId="{63F21680-5917-49D7-8168-8D088425E743}" sibTransId="{7FA18D61-911C-4E2D-B5BB-B30F5A6D69D7}"/>
    <dgm:cxn modelId="{D3AE54D9-B91A-43A8-A85F-69A4F2E615B0}" type="presOf" srcId="{77EAB3DA-6B7F-47C9-B823-F80C4D30507B}" destId="{19B5C739-74C6-4CEC-8A92-51ABCA0828C4}" srcOrd="1" destOrd="0" presId="urn:microsoft.com/office/officeart/2005/8/layout/chart3"/>
    <dgm:cxn modelId="{F04416DA-4F70-4984-BCD2-9D34E89D40CB}" srcId="{3F943055-2435-4454-BB9D-9249EAAC1F62}" destId="{77EAB3DA-6B7F-47C9-B823-F80C4D30507B}" srcOrd="0" destOrd="0" parTransId="{78424F30-95B2-445F-A9AE-113387956B7E}" sibTransId="{1DC94876-93A3-45E3-9509-0FFB80AED89A}"/>
    <dgm:cxn modelId="{DE1CD5E6-DFC6-4C3A-B73C-069CDAC5BDF3}" type="presOf" srcId="{3F943055-2435-4454-BB9D-9249EAAC1F62}" destId="{39B5E147-615E-4845-ADF8-6FAAEF2E0B73}" srcOrd="0" destOrd="0" presId="urn:microsoft.com/office/officeart/2005/8/layout/chart3"/>
    <dgm:cxn modelId="{4AAE7999-357C-40E6-8054-228D67DCA0A3}" type="presParOf" srcId="{39B5E147-615E-4845-ADF8-6FAAEF2E0B73}" destId="{75ED7894-B832-43F3-8CAB-93CEC9B5EDEC}" srcOrd="0" destOrd="0" presId="urn:microsoft.com/office/officeart/2005/8/layout/chart3"/>
    <dgm:cxn modelId="{7D9B3A8E-BFDB-45F2-9A12-97897811AC57}" type="presParOf" srcId="{39B5E147-615E-4845-ADF8-6FAAEF2E0B73}" destId="{19B5C739-74C6-4CEC-8A92-51ABCA0828C4}" srcOrd="1" destOrd="0" presId="urn:microsoft.com/office/officeart/2005/8/layout/chart3"/>
    <dgm:cxn modelId="{5A92E12B-02B0-4AFE-BFDF-836CA20254E5}" type="presParOf" srcId="{39B5E147-615E-4845-ADF8-6FAAEF2E0B73}" destId="{672E1AF6-0594-42EB-A1D2-87912F478B37}" srcOrd="2" destOrd="0" presId="urn:microsoft.com/office/officeart/2005/8/layout/chart3"/>
    <dgm:cxn modelId="{FD3B6E05-589B-4CB9-8C21-71502B457041}" type="presParOf" srcId="{39B5E147-615E-4845-ADF8-6FAAEF2E0B73}" destId="{8E8865A5-6877-4958-A602-8E4FB9FBE7BD}" srcOrd="3" destOrd="0" presId="urn:microsoft.com/office/officeart/2005/8/layout/chart3"/>
    <dgm:cxn modelId="{8C3DC45E-F631-45EB-BAE5-92E11B950A01}" type="presParOf" srcId="{39B5E147-615E-4845-ADF8-6FAAEF2E0B73}" destId="{A83DD71F-979D-4266-B987-9E30DBEAFE93}" srcOrd="4" destOrd="0" presId="urn:microsoft.com/office/officeart/2005/8/layout/chart3"/>
    <dgm:cxn modelId="{F33D9B80-CB5A-4144-BEA0-1D4986405F9D}" type="presParOf" srcId="{39B5E147-615E-4845-ADF8-6FAAEF2E0B73}" destId="{609B1EB5-1363-4805-9C2B-72278D80EF04}" srcOrd="5" destOrd="0" presId="urn:microsoft.com/office/officeart/2005/8/layout/chart3"/>
    <dgm:cxn modelId="{332EAC90-B701-43C9-A58B-57E189ABC799}" type="presParOf" srcId="{39B5E147-615E-4845-ADF8-6FAAEF2E0B73}" destId="{0C080C69-35EF-4DBA-ADBE-CE14478778D9}" srcOrd="6" destOrd="0" presId="urn:microsoft.com/office/officeart/2005/8/layout/chart3"/>
    <dgm:cxn modelId="{6CE29FE7-B875-48D7-876E-7846897B0F5A}" type="presParOf" srcId="{39B5E147-615E-4845-ADF8-6FAAEF2E0B73}" destId="{B0C31358-A3D8-4918-8580-FC0F344CC1F4}" srcOrd="7" destOrd="0" presId="urn:microsoft.com/office/officeart/2005/8/layout/chart3"/>
    <dgm:cxn modelId="{8B48B83A-EC35-4229-9DB9-1DC81D0991AE}" type="presParOf" srcId="{39B5E147-615E-4845-ADF8-6FAAEF2E0B73}" destId="{64D48854-37FB-4AA3-9791-5FEE1CED84F1}" srcOrd="8" destOrd="0" presId="urn:microsoft.com/office/officeart/2005/8/layout/chart3"/>
    <dgm:cxn modelId="{B9656F9A-0113-4E38-8CD8-44834B32CFF1}" type="presParOf" srcId="{39B5E147-615E-4845-ADF8-6FAAEF2E0B73}" destId="{4953C8C5-3674-4A10-808F-A9BC03406887}" srcOrd="9" destOrd="0" presId="urn:microsoft.com/office/officeart/2005/8/layout/chart3"/>
    <dgm:cxn modelId="{E01E7B03-E4D2-4FC0-8B1B-5A0A658C4C3C}" type="presParOf" srcId="{39B5E147-615E-4845-ADF8-6FAAEF2E0B73}" destId="{F8FAE529-3584-4A17-BF05-904103BD6B03}" srcOrd="10" destOrd="0" presId="urn:microsoft.com/office/officeart/2005/8/layout/chart3"/>
    <dgm:cxn modelId="{9DE70128-CDE9-4EF3-97DB-973BF0E2EB60}" type="presParOf" srcId="{39B5E147-615E-4845-ADF8-6FAAEF2E0B73}" destId="{9B7741DD-9B12-491A-A78E-C00D80CEC491}" srcOrd="11" destOrd="0" presId="urn:microsoft.com/office/officeart/2005/8/layout/chart3"/>
    <dgm:cxn modelId="{606D30B3-980B-4340-80CC-732E857ED70A}" type="presParOf" srcId="{39B5E147-615E-4845-ADF8-6FAAEF2E0B73}" destId="{B1414A70-2345-4741-B9D1-3855D5958B7F}" srcOrd="12" destOrd="0" presId="urn:microsoft.com/office/officeart/2005/8/layout/chart3"/>
    <dgm:cxn modelId="{1E791485-06C9-4591-BAB4-1BFACBADBD51}" type="presParOf" srcId="{39B5E147-615E-4845-ADF8-6FAAEF2E0B73}" destId="{0EB97FD6-6B8F-400D-B9E9-AD9AE16EB6B2}" srcOrd="13"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7178486-8BE3-4D9E-8201-826B6B954ADB}"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3A7F9DA4-52B6-40EE-8A5E-D1310875059D}">
      <dgm:prSet/>
      <dgm:spPr/>
      <dgm:t>
        <a:bodyPr/>
        <a:lstStyle/>
        <a:p>
          <a:pPr>
            <a:lnSpc>
              <a:spcPct val="100000"/>
            </a:lnSpc>
          </a:pPr>
          <a:r>
            <a:rPr lang="en-US"/>
            <a:t>Used  Third Party Technology to launch Systems on cloud</a:t>
          </a:r>
        </a:p>
      </dgm:t>
    </dgm:pt>
    <dgm:pt modelId="{BF9A4579-0412-4019-927A-D972FB630DAD}" type="parTrans" cxnId="{9DC91682-A33F-4794-8EE8-FCDC96167D27}">
      <dgm:prSet/>
      <dgm:spPr/>
      <dgm:t>
        <a:bodyPr/>
        <a:lstStyle/>
        <a:p>
          <a:endParaRPr lang="en-US"/>
        </a:p>
      </dgm:t>
    </dgm:pt>
    <dgm:pt modelId="{CEFAF0DB-F35E-44F1-A388-C3513F96FFD4}" type="sibTrans" cxnId="{9DC91682-A33F-4794-8EE8-FCDC96167D27}">
      <dgm:prSet/>
      <dgm:spPr/>
      <dgm:t>
        <a:bodyPr/>
        <a:lstStyle/>
        <a:p>
          <a:endParaRPr lang="en-US"/>
        </a:p>
      </dgm:t>
    </dgm:pt>
    <dgm:pt modelId="{6B5D91C5-71BE-4C48-8F8B-80354CE4F3E6}">
      <dgm:prSet/>
      <dgm:spPr/>
      <dgm:t>
        <a:bodyPr/>
        <a:lstStyle/>
        <a:p>
          <a:pPr>
            <a:lnSpc>
              <a:spcPct val="100000"/>
            </a:lnSpc>
          </a:pPr>
          <a:r>
            <a:rPr lang="en-US"/>
            <a:t>No data breach, but some system downtime impacting operations and cost our project a bit </a:t>
          </a:r>
        </a:p>
      </dgm:t>
    </dgm:pt>
    <dgm:pt modelId="{26A5F078-C815-428A-B427-7D4233078D99}" type="parTrans" cxnId="{84F11C36-D2B4-49DB-AB37-01D52B2706CC}">
      <dgm:prSet/>
      <dgm:spPr/>
      <dgm:t>
        <a:bodyPr/>
        <a:lstStyle/>
        <a:p>
          <a:endParaRPr lang="en-US"/>
        </a:p>
      </dgm:t>
    </dgm:pt>
    <dgm:pt modelId="{C90415C8-4BCE-428C-8E18-DE62C33902A7}" type="sibTrans" cxnId="{84F11C36-D2B4-49DB-AB37-01D52B2706CC}">
      <dgm:prSet/>
      <dgm:spPr/>
      <dgm:t>
        <a:bodyPr/>
        <a:lstStyle/>
        <a:p>
          <a:endParaRPr lang="en-US"/>
        </a:p>
      </dgm:t>
    </dgm:pt>
    <dgm:pt modelId="{6CC28424-5047-4663-8F0D-8A87E2DE9BF5}">
      <dgm:prSet/>
      <dgm:spPr/>
      <dgm:t>
        <a:bodyPr/>
        <a:lstStyle/>
        <a:p>
          <a:pPr>
            <a:lnSpc>
              <a:spcPct val="100000"/>
            </a:lnSpc>
          </a:pPr>
          <a:r>
            <a:rPr lang="en-US"/>
            <a:t>No compensation were made by the client as per SLA’s </a:t>
          </a:r>
        </a:p>
      </dgm:t>
    </dgm:pt>
    <dgm:pt modelId="{FC1210D8-5F9F-41D2-BE71-85A64F76638F}" type="parTrans" cxnId="{835AD5DB-0728-4469-83A5-DF84BB8BC6A3}">
      <dgm:prSet/>
      <dgm:spPr/>
      <dgm:t>
        <a:bodyPr/>
        <a:lstStyle/>
        <a:p>
          <a:endParaRPr lang="en-US"/>
        </a:p>
      </dgm:t>
    </dgm:pt>
    <dgm:pt modelId="{C44CB36E-3C22-4383-94E7-E411C9B01AB6}" type="sibTrans" cxnId="{835AD5DB-0728-4469-83A5-DF84BB8BC6A3}">
      <dgm:prSet/>
      <dgm:spPr/>
      <dgm:t>
        <a:bodyPr/>
        <a:lstStyle/>
        <a:p>
          <a:endParaRPr lang="en-US"/>
        </a:p>
      </dgm:t>
    </dgm:pt>
    <dgm:pt modelId="{0BF935E2-B214-48D6-AC06-F2001568E8FC}" type="pres">
      <dgm:prSet presAssocID="{27178486-8BE3-4D9E-8201-826B6B954ADB}" presName="root" presStyleCnt="0">
        <dgm:presLayoutVars>
          <dgm:dir/>
          <dgm:resizeHandles val="exact"/>
        </dgm:presLayoutVars>
      </dgm:prSet>
      <dgm:spPr/>
    </dgm:pt>
    <dgm:pt modelId="{C83C5BC3-E11E-4C30-9B04-5E18F9A75683}" type="pres">
      <dgm:prSet presAssocID="{3A7F9DA4-52B6-40EE-8A5E-D1310875059D}" presName="compNode" presStyleCnt="0"/>
      <dgm:spPr/>
    </dgm:pt>
    <dgm:pt modelId="{B97515A0-6750-40FB-9B73-14A1BE08073F}" type="pres">
      <dgm:prSet presAssocID="{3A7F9DA4-52B6-40EE-8A5E-D1310875059D}" presName="bgRect" presStyleLbl="bgShp" presStyleIdx="0" presStyleCnt="3"/>
      <dgm:spPr/>
    </dgm:pt>
    <dgm:pt modelId="{24D90C36-DE9B-47D0-AFA5-E819A51ADA79}" type="pres">
      <dgm:prSet presAssocID="{3A7F9DA4-52B6-40EE-8A5E-D1310875059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oud"/>
        </a:ext>
      </dgm:extLst>
    </dgm:pt>
    <dgm:pt modelId="{D9381C5D-24EC-4125-92A6-44E629BB6996}" type="pres">
      <dgm:prSet presAssocID="{3A7F9DA4-52B6-40EE-8A5E-D1310875059D}" presName="spaceRect" presStyleCnt="0"/>
      <dgm:spPr/>
    </dgm:pt>
    <dgm:pt modelId="{499784F3-45BD-4186-AEF2-B39A8B821CB9}" type="pres">
      <dgm:prSet presAssocID="{3A7F9DA4-52B6-40EE-8A5E-D1310875059D}" presName="parTx" presStyleLbl="revTx" presStyleIdx="0" presStyleCnt="3">
        <dgm:presLayoutVars>
          <dgm:chMax val="0"/>
          <dgm:chPref val="0"/>
        </dgm:presLayoutVars>
      </dgm:prSet>
      <dgm:spPr/>
    </dgm:pt>
    <dgm:pt modelId="{3B62461C-FCF6-40DE-BB80-9DB64E9FEDC1}" type="pres">
      <dgm:prSet presAssocID="{CEFAF0DB-F35E-44F1-A388-C3513F96FFD4}" presName="sibTrans" presStyleCnt="0"/>
      <dgm:spPr/>
    </dgm:pt>
    <dgm:pt modelId="{B7871436-2EC3-40A0-95A2-E6FCEADA4C8C}" type="pres">
      <dgm:prSet presAssocID="{6B5D91C5-71BE-4C48-8F8B-80354CE4F3E6}" presName="compNode" presStyleCnt="0"/>
      <dgm:spPr/>
    </dgm:pt>
    <dgm:pt modelId="{86C8C336-0994-4110-9526-F5DC24B87789}" type="pres">
      <dgm:prSet presAssocID="{6B5D91C5-71BE-4C48-8F8B-80354CE4F3E6}" presName="bgRect" presStyleLbl="bgShp" presStyleIdx="1" presStyleCnt="3"/>
      <dgm:spPr/>
    </dgm:pt>
    <dgm:pt modelId="{42255D16-7878-4B1A-AD3A-30DBDFAB324C}" type="pres">
      <dgm:prSet presAssocID="{6B5D91C5-71BE-4C48-8F8B-80354CE4F3E6}"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oney"/>
        </a:ext>
      </dgm:extLst>
    </dgm:pt>
    <dgm:pt modelId="{C7659153-CE90-498B-9299-45BACE542905}" type="pres">
      <dgm:prSet presAssocID="{6B5D91C5-71BE-4C48-8F8B-80354CE4F3E6}" presName="spaceRect" presStyleCnt="0"/>
      <dgm:spPr/>
    </dgm:pt>
    <dgm:pt modelId="{46DF4E61-C33D-46CE-B0E6-53A55D221448}" type="pres">
      <dgm:prSet presAssocID="{6B5D91C5-71BE-4C48-8F8B-80354CE4F3E6}" presName="parTx" presStyleLbl="revTx" presStyleIdx="1" presStyleCnt="3">
        <dgm:presLayoutVars>
          <dgm:chMax val="0"/>
          <dgm:chPref val="0"/>
        </dgm:presLayoutVars>
      </dgm:prSet>
      <dgm:spPr/>
    </dgm:pt>
    <dgm:pt modelId="{71DCC014-44CD-489B-B46E-5548363AA676}" type="pres">
      <dgm:prSet presAssocID="{C90415C8-4BCE-428C-8E18-DE62C33902A7}" presName="sibTrans" presStyleCnt="0"/>
      <dgm:spPr/>
    </dgm:pt>
    <dgm:pt modelId="{DC9728E7-8675-479E-90ED-9A33C6DE8182}" type="pres">
      <dgm:prSet presAssocID="{6CC28424-5047-4663-8F0D-8A87E2DE9BF5}" presName="compNode" presStyleCnt="0"/>
      <dgm:spPr/>
    </dgm:pt>
    <dgm:pt modelId="{6293A90E-9FE9-45DF-AB55-71215BD39EBD}" type="pres">
      <dgm:prSet presAssocID="{6CC28424-5047-4663-8F0D-8A87E2DE9BF5}" presName="bgRect" presStyleLbl="bgShp" presStyleIdx="2" presStyleCnt="3"/>
      <dgm:spPr/>
    </dgm:pt>
    <dgm:pt modelId="{4366981F-8A2C-48B7-ADA0-1F02D440396B}" type="pres">
      <dgm:prSet presAssocID="{6CC28424-5047-4663-8F0D-8A87E2DE9BF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3FDD8534-90D1-4788-85EE-5CC081849608}" type="pres">
      <dgm:prSet presAssocID="{6CC28424-5047-4663-8F0D-8A87E2DE9BF5}" presName="spaceRect" presStyleCnt="0"/>
      <dgm:spPr/>
    </dgm:pt>
    <dgm:pt modelId="{6029D0DC-F112-48FB-8AB5-9F376A7F2DF2}" type="pres">
      <dgm:prSet presAssocID="{6CC28424-5047-4663-8F0D-8A87E2DE9BF5}" presName="parTx" presStyleLbl="revTx" presStyleIdx="2" presStyleCnt="3">
        <dgm:presLayoutVars>
          <dgm:chMax val="0"/>
          <dgm:chPref val="0"/>
        </dgm:presLayoutVars>
      </dgm:prSet>
      <dgm:spPr/>
    </dgm:pt>
  </dgm:ptLst>
  <dgm:cxnLst>
    <dgm:cxn modelId="{D2BEFF1D-39DE-4D8F-B0AD-A64E8CF63583}" type="presOf" srcId="{6B5D91C5-71BE-4C48-8F8B-80354CE4F3E6}" destId="{46DF4E61-C33D-46CE-B0E6-53A55D221448}" srcOrd="0" destOrd="0" presId="urn:microsoft.com/office/officeart/2018/2/layout/IconVerticalSolidList"/>
    <dgm:cxn modelId="{84F11C36-D2B4-49DB-AB37-01D52B2706CC}" srcId="{27178486-8BE3-4D9E-8201-826B6B954ADB}" destId="{6B5D91C5-71BE-4C48-8F8B-80354CE4F3E6}" srcOrd="1" destOrd="0" parTransId="{26A5F078-C815-428A-B427-7D4233078D99}" sibTransId="{C90415C8-4BCE-428C-8E18-DE62C33902A7}"/>
    <dgm:cxn modelId="{169B0F6B-90BB-4295-BCFA-5A960BFDA9B1}" type="presOf" srcId="{3A7F9DA4-52B6-40EE-8A5E-D1310875059D}" destId="{499784F3-45BD-4186-AEF2-B39A8B821CB9}" srcOrd="0" destOrd="0" presId="urn:microsoft.com/office/officeart/2018/2/layout/IconVerticalSolidList"/>
    <dgm:cxn modelId="{1D909179-57FC-40BB-A8D0-A937599BD06F}" type="presOf" srcId="{27178486-8BE3-4D9E-8201-826B6B954ADB}" destId="{0BF935E2-B214-48D6-AC06-F2001568E8FC}" srcOrd="0" destOrd="0" presId="urn:microsoft.com/office/officeart/2018/2/layout/IconVerticalSolidList"/>
    <dgm:cxn modelId="{9DC91682-A33F-4794-8EE8-FCDC96167D27}" srcId="{27178486-8BE3-4D9E-8201-826B6B954ADB}" destId="{3A7F9DA4-52B6-40EE-8A5E-D1310875059D}" srcOrd="0" destOrd="0" parTransId="{BF9A4579-0412-4019-927A-D972FB630DAD}" sibTransId="{CEFAF0DB-F35E-44F1-A388-C3513F96FFD4}"/>
    <dgm:cxn modelId="{EC574DA3-FF31-4C5F-858D-5CF4FED1032C}" type="presOf" srcId="{6CC28424-5047-4663-8F0D-8A87E2DE9BF5}" destId="{6029D0DC-F112-48FB-8AB5-9F376A7F2DF2}" srcOrd="0" destOrd="0" presId="urn:microsoft.com/office/officeart/2018/2/layout/IconVerticalSolidList"/>
    <dgm:cxn modelId="{835AD5DB-0728-4469-83A5-DF84BB8BC6A3}" srcId="{27178486-8BE3-4D9E-8201-826B6B954ADB}" destId="{6CC28424-5047-4663-8F0D-8A87E2DE9BF5}" srcOrd="2" destOrd="0" parTransId="{FC1210D8-5F9F-41D2-BE71-85A64F76638F}" sibTransId="{C44CB36E-3C22-4383-94E7-E411C9B01AB6}"/>
    <dgm:cxn modelId="{84D494A1-89CA-4FF5-B11C-A60C8AE74901}" type="presParOf" srcId="{0BF935E2-B214-48D6-AC06-F2001568E8FC}" destId="{C83C5BC3-E11E-4C30-9B04-5E18F9A75683}" srcOrd="0" destOrd="0" presId="urn:microsoft.com/office/officeart/2018/2/layout/IconVerticalSolidList"/>
    <dgm:cxn modelId="{E7D18DF2-7D2E-4872-8EB5-5AA308674FC5}" type="presParOf" srcId="{C83C5BC3-E11E-4C30-9B04-5E18F9A75683}" destId="{B97515A0-6750-40FB-9B73-14A1BE08073F}" srcOrd="0" destOrd="0" presId="urn:microsoft.com/office/officeart/2018/2/layout/IconVerticalSolidList"/>
    <dgm:cxn modelId="{E9F60555-0056-4C50-9C4B-3149DBC7EA6A}" type="presParOf" srcId="{C83C5BC3-E11E-4C30-9B04-5E18F9A75683}" destId="{24D90C36-DE9B-47D0-AFA5-E819A51ADA79}" srcOrd="1" destOrd="0" presId="urn:microsoft.com/office/officeart/2018/2/layout/IconVerticalSolidList"/>
    <dgm:cxn modelId="{CA46B15C-0C9A-403A-AE91-15CF431284C9}" type="presParOf" srcId="{C83C5BC3-E11E-4C30-9B04-5E18F9A75683}" destId="{D9381C5D-24EC-4125-92A6-44E629BB6996}" srcOrd="2" destOrd="0" presId="urn:microsoft.com/office/officeart/2018/2/layout/IconVerticalSolidList"/>
    <dgm:cxn modelId="{86D526DC-4EBE-4D4D-B56B-210683CDA4D6}" type="presParOf" srcId="{C83C5BC3-E11E-4C30-9B04-5E18F9A75683}" destId="{499784F3-45BD-4186-AEF2-B39A8B821CB9}" srcOrd="3" destOrd="0" presId="urn:microsoft.com/office/officeart/2018/2/layout/IconVerticalSolidList"/>
    <dgm:cxn modelId="{37C38E9B-F704-4562-AD9C-41EAEC943CBD}" type="presParOf" srcId="{0BF935E2-B214-48D6-AC06-F2001568E8FC}" destId="{3B62461C-FCF6-40DE-BB80-9DB64E9FEDC1}" srcOrd="1" destOrd="0" presId="urn:microsoft.com/office/officeart/2018/2/layout/IconVerticalSolidList"/>
    <dgm:cxn modelId="{713CD517-2D8E-4F38-A240-F22F31B0C4DA}" type="presParOf" srcId="{0BF935E2-B214-48D6-AC06-F2001568E8FC}" destId="{B7871436-2EC3-40A0-95A2-E6FCEADA4C8C}" srcOrd="2" destOrd="0" presId="urn:microsoft.com/office/officeart/2018/2/layout/IconVerticalSolidList"/>
    <dgm:cxn modelId="{749DBB1F-394D-463C-A69C-B5B286174559}" type="presParOf" srcId="{B7871436-2EC3-40A0-95A2-E6FCEADA4C8C}" destId="{86C8C336-0994-4110-9526-F5DC24B87789}" srcOrd="0" destOrd="0" presId="urn:microsoft.com/office/officeart/2018/2/layout/IconVerticalSolidList"/>
    <dgm:cxn modelId="{3660488E-CB37-4B4E-A411-6A7C288BD565}" type="presParOf" srcId="{B7871436-2EC3-40A0-95A2-E6FCEADA4C8C}" destId="{42255D16-7878-4B1A-AD3A-30DBDFAB324C}" srcOrd="1" destOrd="0" presId="urn:microsoft.com/office/officeart/2018/2/layout/IconVerticalSolidList"/>
    <dgm:cxn modelId="{34059798-73CD-48DD-98E8-993FA5DD849C}" type="presParOf" srcId="{B7871436-2EC3-40A0-95A2-E6FCEADA4C8C}" destId="{C7659153-CE90-498B-9299-45BACE542905}" srcOrd="2" destOrd="0" presId="urn:microsoft.com/office/officeart/2018/2/layout/IconVerticalSolidList"/>
    <dgm:cxn modelId="{B133C82E-DA04-4783-BDCA-46FBDCC32DD6}" type="presParOf" srcId="{B7871436-2EC3-40A0-95A2-E6FCEADA4C8C}" destId="{46DF4E61-C33D-46CE-B0E6-53A55D221448}" srcOrd="3" destOrd="0" presId="urn:microsoft.com/office/officeart/2018/2/layout/IconVerticalSolidList"/>
    <dgm:cxn modelId="{34FC697B-B284-4506-AE41-E526EA30591D}" type="presParOf" srcId="{0BF935E2-B214-48D6-AC06-F2001568E8FC}" destId="{71DCC014-44CD-489B-B46E-5548363AA676}" srcOrd="3" destOrd="0" presId="urn:microsoft.com/office/officeart/2018/2/layout/IconVerticalSolidList"/>
    <dgm:cxn modelId="{1E512AD4-1D1C-4E40-97E8-2859340A3AA8}" type="presParOf" srcId="{0BF935E2-B214-48D6-AC06-F2001568E8FC}" destId="{DC9728E7-8675-479E-90ED-9A33C6DE8182}" srcOrd="4" destOrd="0" presId="urn:microsoft.com/office/officeart/2018/2/layout/IconVerticalSolidList"/>
    <dgm:cxn modelId="{C637338B-FDAD-4152-926D-C66E6BC37621}" type="presParOf" srcId="{DC9728E7-8675-479E-90ED-9A33C6DE8182}" destId="{6293A90E-9FE9-45DF-AB55-71215BD39EBD}" srcOrd="0" destOrd="0" presId="urn:microsoft.com/office/officeart/2018/2/layout/IconVerticalSolidList"/>
    <dgm:cxn modelId="{EC51ADDF-AD5E-44AC-9F60-54ADDF66B923}" type="presParOf" srcId="{DC9728E7-8675-479E-90ED-9A33C6DE8182}" destId="{4366981F-8A2C-48B7-ADA0-1F02D440396B}" srcOrd="1" destOrd="0" presId="urn:microsoft.com/office/officeart/2018/2/layout/IconVerticalSolidList"/>
    <dgm:cxn modelId="{18E21CEE-B9E4-4D45-9662-40EDC940A19B}" type="presParOf" srcId="{DC9728E7-8675-479E-90ED-9A33C6DE8182}" destId="{3FDD8534-90D1-4788-85EE-5CC081849608}" srcOrd="2" destOrd="0" presId="urn:microsoft.com/office/officeart/2018/2/layout/IconVerticalSolidList"/>
    <dgm:cxn modelId="{EC73F837-4CBC-4881-9281-E2C80722662F}" type="presParOf" srcId="{DC9728E7-8675-479E-90ED-9A33C6DE8182}" destId="{6029D0DC-F112-48FB-8AB5-9F376A7F2DF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635D54-E36F-496E-8AE3-1573968F2BDF}">
      <dsp:nvSpPr>
        <dsp:cNvPr id="0" name=""/>
        <dsp:cNvSpPr/>
      </dsp:nvSpPr>
      <dsp:spPr>
        <a:xfrm>
          <a:off x="0" y="13392"/>
          <a:ext cx="6703139" cy="55165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0" i="0" kern="1200"/>
            <a:t>Project Overview ​</a:t>
          </a:r>
          <a:endParaRPr lang="en-US" sz="2300" kern="1200"/>
        </a:p>
      </dsp:txBody>
      <dsp:txXfrm>
        <a:off x="26930" y="40322"/>
        <a:ext cx="6649279" cy="497795"/>
      </dsp:txXfrm>
    </dsp:sp>
    <dsp:sp modelId="{6CABA8C7-B0AE-462A-921B-FA53DC622115}">
      <dsp:nvSpPr>
        <dsp:cNvPr id="0" name=""/>
        <dsp:cNvSpPr/>
      </dsp:nvSpPr>
      <dsp:spPr>
        <a:xfrm>
          <a:off x="0" y="631287"/>
          <a:ext cx="6703139" cy="551655"/>
        </a:xfrm>
        <a:prstGeom prst="roundRect">
          <a:avLst/>
        </a:prstGeom>
        <a:solidFill>
          <a:schemeClr val="accent2">
            <a:hueOff val="-242561"/>
            <a:satOff val="-13988"/>
            <a:lumOff val="14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0" i="0" kern="1200"/>
            <a:t>Risk Assessment ​</a:t>
          </a:r>
          <a:endParaRPr lang="en-US" sz="2300" kern="1200"/>
        </a:p>
      </dsp:txBody>
      <dsp:txXfrm>
        <a:off x="26930" y="658217"/>
        <a:ext cx="6649279" cy="497795"/>
      </dsp:txXfrm>
    </dsp:sp>
    <dsp:sp modelId="{4B3C811A-D687-41E6-B220-5061478A3387}">
      <dsp:nvSpPr>
        <dsp:cNvPr id="0" name=""/>
        <dsp:cNvSpPr/>
      </dsp:nvSpPr>
      <dsp:spPr>
        <a:xfrm>
          <a:off x="0" y="1249182"/>
          <a:ext cx="6703139" cy="551655"/>
        </a:xfrm>
        <a:prstGeom prst="roundRect">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0" i="0" kern="1200"/>
            <a:t>Project Schedule ​</a:t>
          </a:r>
          <a:endParaRPr lang="en-US" sz="2300" kern="1200"/>
        </a:p>
      </dsp:txBody>
      <dsp:txXfrm>
        <a:off x="26930" y="1276112"/>
        <a:ext cx="6649279" cy="497795"/>
      </dsp:txXfrm>
    </dsp:sp>
    <dsp:sp modelId="{0F8B549B-471C-460B-9ABD-AD3A7DE1FE90}">
      <dsp:nvSpPr>
        <dsp:cNvPr id="0" name=""/>
        <dsp:cNvSpPr/>
      </dsp:nvSpPr>
      <dsp:spPr>
        <a:xfrm>
          <a:off x="0" y="1867077"/>
          <a:ext cx="6703139" cy="551655"/>
        </a:xfrm>
        <a:prstGeom prst="round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0" i="0" kern="1200"/>
            <a:t>Stakeholder Management ​</a:t>
          </a:r>
          <a:endParaRPr lang="en-US" sz="2300" kern="1200"/>
        </a:p>
      </dsp:txBody>
      <dsp:txXfrm>
        <a:off x="26930" y="1894007"/>
        <a:ext cx="6649279" cy="497795"/>
      </dsp:txXfrm>
    </dsp:sp>
    <dsp:sp modelId="{C8184563-2242-48BE-BBD5-10FEDCCDAA8C}">
      <dsp:nvSpPr>
        <dsp:cNvPr id="0" name=""/>
        <dsp:cNvSpPr/>
      </dsp:nvSpPr>
      <dsp:spPr>
        <a:xfrm>
          <a:off x="0" y="2484972"/>
          <a:ext cx="6703139" cy="551655"/>
        </a:xfrm>
        <a:prstGeom prst="roundRect">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0" i="0" kern="1200"/>
            <a:t>Communication Management ​</a:t>
          </a:r>
          <a:endParaRPr lang="en-US" sz="2300" kern="1200"/>
        </a:p>
      </dsp:txBody>
      <dsp:txXfrm>
        <a:off x="26930" y="2511902"/>
        <a:ext cx="6649279" cy="497795"/>
      </dsp:txXfrm>
    </dsp:sp>
    <dsp:sp modelId="{00FEF9A4-4EBE-4D68-AEEA-1328A8286326}">
      <dsp:nvSpPr>
        <dsp:cNvPr id="0" name=""/>
        <dsp:cNvSpPr/>
      </dsp:nvSpPr>
      <dsp:spPr>
        <a:xfrm>
          <a:off x="0" y="3102867"/>
          <a:ext cx="6703139" cy="551655"/>
        </a:xfrm>
        <a:prstGeom prst="roundRect">
          <a:avLst/>
        </a:prstGeom>
        <a:solidFill>
          <a:schemeClr val="accent2">
            <a:hueOff val="-1212803"/>
            <a:satOff val="-69940"/>
            <a:lumOff val="7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0" i="0" kern="1200"/>
            <a:t>Tracking and Status update ​</a:t>
          </a:r>
          <a:endParaRPr lang="en-US" sz="2300" kern="1200"/>
        </a:p>
      </dsp:txBody>
      <dsp:txXfrm>
        <a:off x="26930" y="3129797"/>
        <a:ext cx="6649279" cy="497795"/>
      </dsp:txXfrm>
    </dsp:sp>
    <dsp:sp modelId="{C2F27B1F-F7A1-4675-BAB9-9D78C25684D4}">
      <dsp:nvSpPr>
        <dsp:cNvPr id="0" name=""/>
        <dsp:cNvSpPr/>
      </dsp:nvSpPr>
      <dsp:spPr>
        <a:xfrm>
          <a:off x="0" y="3720762"/>
          <a:ext cx="6703139" cy="551655"/>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b="0" i="0" kern="1200"/>
            <a:t>Project Close Out ​</a:t>
          </a:r>
          <a:endParaRPr lang="en-US" sz="2300" kern="1200"/>
        </a:p>
      </dsp:txBody>
      <dsp:txXfrm>
        <a:off x="26930" y="3747692"/>
        <a:ext cx="6649279" cy="4977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B83FD0-AA41-4C78-9434-C1D4459278DE}">
      <dsp:nvSpPr>
        <dsp:cNvPr id="0" name=""/>
        <dsp:cNvSpPr/>
      </dsp:nvSpPr>
      <dsp:spPr>
        <a:xfrm>
          <a:off x="392180" y="397992"/>
          <a:ext cx="1166625" cy="1166625"/>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7F29D6-D3B2-4E91-9EDD-DD1CBD1FF687}">
      <dsp:nvSpPr>
        <dsp:cNvPr id="0" name=""/>
        <dsp:cNvSpPr/>
      </dsp:nvSpPr>
      <dsp:spPr>
        <a:xfrm>
          <a:off x="640805" y="646617"/>
          <a:ext cx="669375" cy="66937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DC59814-0D78-48FC-AC51-FA455C97E0E0}">
      <dsp:nvSpPr>
        <dsp:cNvPr id="0" name=""/>
        <dsp:cNvSpPr/>
      </dsp:nvSpPr>
      <dsp:spPr>
        <a:xfrm>
          <a:off x="19243" y="1927992"/>
          <a:ext cx="1912500" cy="2236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rtl="0">
            <a:lnSpc>
              <a:spcPct val="100000"/>
            </a:lnSpc>
            <a:spcBef>
              <a:spcPct val="0"/>
            </a:spcBef>
            <a:spcAft>
              <a:spcPct val="35000"/>
            </a:spcAft>
            <a:buNone/>
            <a:defRPr cap="all"/>
          </a:pPr>
          <a:r>
            <a:rPr lang="en-US" sz="1600" b="0" i="0" kern="1200">
              <a:latin typeface="Calibri Light"/>
              <a:cs typeface="Times New Roman"/>
            </a:rPr>
            <a:t>Scaling the systems linearly incurs huge software licenses and maintenance costs. </a:t>
          </a:r>
          <a:r>
            <a:rPr lang="en-US" sz="1600" kern="1200">
              <a:latin typeface="Calibri Light"/>
              <a:cs typeface="Times New Roman"/>
            </a:rPr>
            <a:t> </a:t>
          </a:r>
        </a:p>
      </dsp:txBody>
      <dsp:txXfrm>
        <a:off x="19243" y="1927992"/>
        <a:ext cx="1912500" cy="2236354"/>
      </dsp:txXfrm>
    </dsp:sp>
    <dsp:sp modelId="{AD5102A9-2B36-41DE-9AB1-F025FA2DEE6D}">
      <dsp:nvSpPr>
        <dsp:cNvPr id="0" name=""/>
        <dsp:cNvSpPr/>
      </dsp:nvSpPr>
      <dsp:spPr>
        <a:xfrm>
          <a:off x="2639368" y="397992"/>
          <a:ext cx="1166625" cy="1166625"/>
        </a:xfrm>
        <a:prstGeom prst="round2DiagRect">
          <a:avLst>
            <a:gd name="adj1" fmla="val 29727"/>
            <a:gd name="adj2" fmla="val 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6DB5A2-BD69-4CA7-ABF1-9650F6C15076}">
      <dsp:nvSpPr>
        <dsp:cNvPr id="0" name=""/>
        <dsp:cNvSpPr/>
      </dsp:nvSpPr>
      <dsp:spPr>
        <a:xfrm>
          <a:off x="2887993" y="646617"/>
          <a:ext cx="669375" cy="66937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7AC4C8A-1078-4C7A-A1C9-CEFF2663B275}">
      <dsp:nvSpPr>
        <dsp:cNvPr id="0" name=""/>
        <dsp:cNvSpPr/>
      </dsp:nvSpPr>
      <dsp:spPr>
        <a:xfrm>
          <a:off x="2266430" y="1927992"/>
          <a:ext cx="1912500" cy="2236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0" i="0" kern="1200">
              <a:latin typeface="Calibri Light"/>
              <a:cs typeface="Times New Roman"/>
            </a:rPr>
            <a:t>Analytical processing ability of the systems becomes increasingly inefficient as data computation is performed centrally. </a:t>
          </a:r>
          <a:endParaRPr lang="en-US" sz="1600" kern="1200">
            <a:latin typeface="Calibri Light"/>
            <a:cs typeface="Times New Roman"/>
          </a:endParaRPr>
        </a:p>
      </dsp:txBody>
      <dsp:txXfrm>
        <a:off x="2266430" y="1927992"/>
        <a:ext cx="1912500" cy="2236354"/>
      </dsp:txXfrm>
    </dsp:sp>
    <dsp:sp modelId="{DE3596E0-86EF-42C7-87C7-F9D201775C21}">
      <dsp:nvSpPr>
        <dsp:cNvPr id="0" name=""/>
        <dsp:cNvSpPr/>
      </dsp:nvSpPr>
      <dsp:spPr>
        <a:xfrm>
          <a:off x="4886555" y="397992"/>
          <a:ext cx="1166625" cy="1166625"/>
        </a:xfrm>
        <a:prstGeom prst="round2DiagRect">
          <a:avLst>
            <a:gd name="adj1" fmla="val 29727"/>
            <a:gd name="adj2" fmla="val 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94B99CD-F191-4B2F-BC63-6B87EBDFE619}">
      <dsp:nvSpPr>
        <dsp:cNvPr id="0" name=""/>
        <dsp:cNvSpPr/>
      </dsp:nvSpPr>
      <dsp:spPr>
        <a:xfrm>
          <a:off x="5135180" y="646617"/>
          <a:ext cx="669375" cy="66937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B209506-4A76-4CDA-93A1-B9E8299A7D15}">
      <dsp:nvSpPr>
        <dsp:cNvPr id="0" name=""/>
        <dsp:cNvSpPr/>
      </dsp:nvSpPr>
      <dsp:spPr>
        <a:xfrm>
          <a:off x="4513618" y="1927992"/>
          <a:ext cx="1912500" cy="2236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en-US" sz="1600" b="0" i="0" kern="1200">
              <a:latin typeface="Calibri Light"/>
              <a:cs typeface="Times New Roman"/>
            </a:rPr>
            <a:t>Maintenance and Operations are difficult as users of the system have limited control over the infrastructure. </a:t>
          </a:r>
          <a:endParaRPr lang="en-US" sz="1600" kern="1200">
            <a:latin typeface="Calibri Light"/>
            <a:cs typeface="Times New Roman"/>
          </a:endParaRPr>
        </a:p>
      </dsp:txBody>
      <dsp:txXfrm>
        <a:off x="4513618" y="1927992"/>
        <a:ext cx="1912500" cy="22363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ED7894-B832-43F3-8CAB-93CEC9B5EDEC}">
      <dsp:nvSpPr>
        <dsp:cNvPr id="0" name=""/>
        <dsp:cNvSpPr/>
      </dsp:nvSpPr>
      <dsp:spPr>
        <a:xfrm>
          <a:off x="637786" y="218659"/>
          <a:ext cx="4357724" cy="4357724"/>
        </a:xfrm>
        <a:prstGeom prst="pie">
          <a:avLst>
            <a:gd name="adj1" fmla="val 16200000"/>
            <a:gd name="adj2" fmla="val 19285716"/>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Milestones</a:t>
          </a:r>
        </a:p>
      </dsp:txBody>
      <dsp:txXfrm>
        <a:off x="2859707" y="633680"/>
        <a:ext cx="1193186" cy="752226"/>
      </dsp:txXfrm>
    </dsp:sp>
    <dsp:sp modelId="{672E1AF6-0594-42EB-A1D2-87912F478B37}">
      <dsp:nvSpPr>
        <dsp:cNvPr id="0" name=""/>
        <dsp:cNvSpPr/>
      </dsp:nvSpPr>
      <dsp:spPr>
        <a:xfrm>
          <a:off x="525211" y="452108"/>
          <a:ext cx="4357724" cy="4357724"/>
        </a:xfrm>
        <a:prstGeom prst="pie">
          <a:avLst>
            <a:gd name="adj1" fmla="val 19285716"/>
            <a:gd name="adj2" fmla="val 771428"/>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Goals, Objectives &amp; Scope</a:t>
          </a:r>
        </a:p>
      </dsp:txBody>
      <dsp:txXfrm>
        <a:off x="3508177" y="2008438"/>
        <a:ext cx="1265815" cy="804103"/>
      </dsp:txXfrm>
    </dsp:sp>
    <dsp:sp modelId="{A83DD71F-979D-4266-B987-9E30DBEAFE93}">
      <dsp:nvSpPr>
        <dsp:cNvPr id="0" name=""/>
        <dsp:cNvSpPr/>
      </dsp:nvSpPr>
      <dsp:spPr>
        <a:xfrm>
          <a:off x="525211" y="452108"/>
          <a:ext cx="4357724" cy="4357724"/>
        </a:xfrm>
        <a:prstGeom prst="pie">
          <a:avLst>
            <a:gd name="adj1" fmla="val 771428"/>
            <a:gd name="adj2" fmla="val 3857143"/>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Core Team Roster</a:t>
          </a:r>
        </a:p>
      </dsp:txBody>
      <dsp:txXfrm>
        <a:off x="3326606" y="3045992"/>
        <a:ext cx="1141308" cy="830042"/>
      </dsp:txXfrm>
    </dsp:sp>
    <dsp:sp modelId="{0C080C69-35EF-4DBA-ADBE-CE14478778D9}">
      <dsp:nvSpPr>
        <dsp:cNvPr id="0" name=""/>
        <dsp:cNvSpPr/>
      </dsp:nvSpPr>
      <dsp:spPr>
        <a:xfrm>
          <a:off x="525211" y="452108"/>
          <a:ext cx="4357724" cy="4357724"/>
        </a:xfrm>
        <a:prstGeom prst="pie">
          <a:avLst>
            <a:gd name="adj1" fmla="val 3857226"/>
            <a:gd name="adj2" fmla="val 6942858"/>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Communication Plan</a:t>
          </a:r>
        </a:p>
      </dsp:txBody>
      <dsp:txXfrm>
        <a:off x="2120450" y="3876034"/>
        <a:ext cx="1167247" cy="830042"/>
      </dsp:txXfrm>
    </dsp:sp>
    <dsp:sp modelId="{64D48854-37FB-4AA3-9791-5FEE1CED84F1}">
      <dsp:nvSpPr>
        <dsp:cNvPr id="0" name=""/>
        <dsp:cNvSpPr/>
      </dsp:nvSpPr>
      <dsp:spPr>
        <a:xfrm>
          <a:off x="525211" y="452108"/>
          <a:ext cx="4357724" cy="4357724"/>
        </a:xfrm>
        <a:prstGeom prst="pie">
          <a:avLst>
            <a:gd name="adj1" fmla="val 6942858"/>
            <a:gd name="adj2" fmla="val 10028574"/>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High Level Training Plan</a:t>
          </a:r>
        </a:p>
      </dsp:txBody>
      <dsp:txXfrm>
        <a:off x="940233" y="3045992"/>
        <a:ext cx="1141308" cy="830042"/>
      </dsp:txXfrm>
    </dsp:sp>
    <dsp:sp modelId="{F8FAE529-3584-4A17-BF05-904103BD6B03}">
      <dsp:nvSpPr>
        <dsp:cNvPr id="0" name=""/>
        <dsp:cNvSpPr/>
      </dsp:nvSpPr>
      <dsp:spPr>
        <a:xfrm>
          <a:off x="525211" y="452108"/>
          <a:ext cx="4357724" cy="4357724"/>
        </a:xfrm>
        <a:prstGeom prst="pie">
          <a:avLst>
            <a:gd name="adj1" fmla="val 10028574"/>
            <a:gd name="adj2" fmla="val 13114284"/>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High Level Deployment Plan</a:t>
          </a:r>
        </a:p>
      </dsp:txBody>
      <dsp:txXfrm>
        <a:off x="634154" y="2008438"/>
        <a:ext cx="1265815" cy="804103"/>
      </dsp:txXfrm>
    </dsp:sp>
    <dsp:sp modelId="{B1414A70-2345-4741-B9D1-3855D5958B7F}">
      <dsp:nvSpPr>
        <dsp:cNvPr id="0" name=""/>
        <dsp:cNvSpPr/>
      </dsp:nvSpPr>
      <dsp:spPr>
        <a:xfrm>
          <a:off x="240935" y="292833"/>
          <a:ext cx="4926276" cy="4676273"/>
        </a:xfrm>
        <a:prstGeom prst="pie">
          <a:avLst>
            <a:gd name="adj1" fmla="val 13114284"/>
            <a:gd name="adj2" fmla="val 1620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Key Performance Indicators</a:t>
          </a:r>
        </a:p>
      </dsp:txBody>
      <dsp:txXfrm>
        <a:off x="1308295" y="738193"/>
        <a:ext cx="1348861" cy="80721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7515A0-6750-40FB-9B73-14A1BE08073F}">
      <dsp:nvSpPr>
        <dsp:cNvPr id="0" name=""/>
        <dsp:cNvSpPr/>
      </dsp:nvSpPr>
      <dsp:spPr>
        <a:xfrm>
          <a:off x="0" y="690"/>
          <a:ext cx="6248400" cy="1615680"/>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4D90C36-DE9B-47D0-AFA5-E819A51ADA79}">
      <dsp:nvSpPr>
        <dsp:cNvPr id="0" name=""/>
        <dsp:cNvSpPr/>
      </dsp:nvSpPr>
      <dsp:spPr>
        <a:xfrm>
          <a:off x="488743" y="364218"/>
          <a:ext cx="888624" cy="8886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99784F3-45BD-4186-AEF2-B39A8B821CB9}">
      <dsp:nvSpPr>
        <dsp:cNvPr id="0" name=""/>
        <dsp:cNvSpPr/>
      </dsp:nvSpPr>
      <dsp:spPr>
        <a:xfrm>
          <a:off x="1866111" y="690"/>
          <a:ext cx="4382288" cy="1615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993" tIns="170993" rIns="170993" bIns="170993" numCol="1" spcCol="1270" anchor="ctr" anchorCtr="0">
          <a:noAutofit/>
        </a:bodyPr>
        <a:lstStyle/>
        <a:p>
          <a:pPr marL="0" lvl="0" indent="0" algn="l" defTabSz="977900">
            <a:lnSpc>
              <a:spcPct val="100000"/>
            </a:lnSpc>
            <a:spcBef>
              <a:spcPct val="0"/>
            </a:spcBef>
            <a:spcAft>
              <a:spcPct val="35000"/>
            </a:spcAft>
            <a:buNone/>
          </a:pPr>
          <a:r>
            <a:rPr lang="en-US" sz="2200" kern="1200"/>
            <a:t>Used  Third Party Technology to launch Systems on cloud</a:t>
          </a:r>
        </a:p>
      </dsp:txBody>
      <dsp:txXfrm>
        <a:off x="1866111" y="690"/>
        <a:ext cx="4382288" cy="1615680"/>
      </dsp:txXfrm>
    </dsp:sp>
    <dsp:sp modelId="{86C8C336-0994-4110-9526-F5DC24B87789}">
      <dsp:nvSpPr>
        <dsp:cNvPr id="0" name=""/>
        <dsp:cNvSpPr/>
      </dsp:nvSpPr>
      <dsp:spPr>
        <a:xfrm>
          <a:off x="0" y="2020291"/>
          <a:ext cx="6248400" cy="1615680"/>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2255D16-7878-4B1A-AD3A-30DBDFAB324C}">
      <dsp:nvSpPr>
        <dsp:cNvPr id="0" name=""/>
        <dsp:cNvSpPr/>
      </dsp:nvSpPr>
      <dsp:spPr>
        <a:xfrm>
          <a:off x="488743" y="2383819"/>
          <a:ext cx="888624" cy="8886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6DF4E61-C33D-46CE-B0E6-53A55D221448}">
      <dsp:nvSpPr>
        <dsp:cNvPr id="0" name=""/>
        <dsp:cNvSpPr/>
      </dsp:nvSpPr>
      <dsp:spPr>
        <a:xfrm>
          <a:off x="1866111" y="2020291"/>
          <a:ext cx="4382288" cy="1615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993" tIns="170993" rIns="170993" bIns="170993" numCol="1" spcCol="1270" anchor="ctr" anchorCtr="0">
          <a:noAutofit/>
        </a:bodyPr>
        <a:lstStyle/>
        <a:p>
          <a:pPr marL="0" lvl="0" indent="0" algn="l" defTabSz="977900">
            <a:lnSpc>
              <a:spcPct val="100000"/>
            </a:lnSpc>
            <a:spcBef>
              <a:spcPct val="0"/>
            </a:spcBef>
            <a:spcAft>
              <a:spcPct val="35000"/>
            </a:spcAft>
            <a:buNone/>
          </a:pPr>
          <a:r>
            <a:rPr lang="en-US" sz="2200" kern="1200"/>
            <a:t>No data breach, but some system downtime impacting operations and cost our project a bit </a:t>
          </a:r>
        </a:p>
      </dsp:txBody>
      <dsp:txXfrm>
        <a:off x="1866111" y="2020291"/>
        <a:ext cx="4382288" cy="1615680"/>
      </dsp:txXfrm>
    </dsp:sp>
    <dsp:sp modelId="{6293A90E-9FE9-45DF-AB55-71215BD39EBD}">
      <dsp:nvSpPr>
        <dsp:cNvPr id="0" name=""/>
        <dsp:cNvSpPr/>
      </dsp:nvSpPr>
      <dsp:spPr>
        <a:xfrm>
          <a:off x="0" y="4039891"/>
          <a:ext cx="6248400" cy="1615680"/>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66981F-8A2C-48B7-ADA0-1F02D440396B}">
      <dsp:nvSpPr>
        <dsp:cNvPr id="0" name=""/>
        <dsp:cNvSpPr/>
      </dsp:nvSpPr>
      <dsp:spPr>
        <a:xfrm>
          <a:off x="488743" y="4403420"/>
          <a:ext cx="888624" cy="8886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029D0DC-F112-48FB-8AB5-9F376A7F2DF2}">
      <dsp:nvSpPr>
        <dsp:cNvPr id="0" name=""/>
        <dsp:cNvSpPr/>
      </dsp:nvSpPr>
      <dsp:spPr>
        <a:xfrm>
          <a:off x="1866111" y="4039891"/>
          <a:ext cx="4382288" cy="1615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993" tIns="170993" rIns="170993" bIns="170993" numCol="1" spcCol="1270" anchor="ctr" anchorCtr="0">
          <a:noAutofit/>
        </a:bodyPr>
        <a:lstStyle/>
        <a:p>
          <a:pPr marL="0" lvl="0" indent="0" algn="l" defTabSz="977900">
            <a:lnSpc>
              <a:spcPct val="100000"/>
            </a:lnSpc>
            <a:spcBef>
              <a:spcPct val="0"/>
            </a:spcBef>
            <a:spcAft>
              <a:spcPct val="35000"/>
            </a:spcAft>
            <a:buNone/>
          </a:pPr>
          <a:r>
            <a:rPr lang="en-US" sz="2200" kern="1200"/>
            <a:t>No compensation were made by the client as per SLA’s </a:t>
          </a:r>
        </a:p>
      </dsp:txBody>
      <dsp:txXfrm>
        <a:off x="1866111" y="4039891"/>
        <a:ext cx="4382288" cy="161568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579129-E5DE-4873-81CE-1819B201153B}" type="datetimeFigureOut">
              <a:rPr lang="en-US" smtClean="0"/>
              <a:t>12/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A12DAE-D699-4970-9CC0-6A455F474F95}" type="slidenum">
              <a:rPr lang="en-US" smtClean="0"/>
              <a:t>‹#›</a:t>
            </a:fld>
            <a:endParaRPr lang="en-US"/>
          </a:p>
        </p:txBody>
      </p:sp>
    </p:spTree>
    <p:extLst>
      <p:ext uri="{BB962C8B-B14F-4D97-AF65-F5344CB8AC3E}">
        <p14:creationId xmlns:p14="http://schemas.microsoft.com/office/powerpoint/2010/main" val="2080416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45486-E15D-4E8D-BFF0-DA58316FBBE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A8B621-DE99-4EE7-A691-F0807708F1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1647EB2-94AD-4393-B8DA-D275B37B741D}"/>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5" name="Footer Placeholder 4">
            <a:extLst>
              <a:ext uri="{FF2B5EF4-FFF2-40B4-BE49-F238E27FC236}">
                <a16:creationId xmlns:a16="http://schemas.microsoft.com/office/drawing/2014/main" id="{3724FA95-3232-487F-8929-4884001CA5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65EB77-0FF7-4AA8-BDE2-5775196B5FB3}"/>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40446434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EE19D-0D7F-4D8F-90E7-A3CEF806D1F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12611D7-4EB8-43AF-ABA3-CC516CDE1EF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FD224A-1767-4321-A28E-83DC93AC9326}"/>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5" name="Footer Placeholder 4">
            <a:extLst>
              <a:ext uri="{FF2B5EF4-FFF2-40B4-BE49-F238E27FC236}">
                <a16:creationId xmlns:a16="http://schemas.microsoft.com/office/drawing/2014/main" id="{CAB01AED-558C-446C-8CA1-5AA32E61D2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182373-EF7E-4E8A-B76E-CE5D637D7506}"/>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570228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E301E45-F107-4426-8A0E-611559F83FF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648AF24-8548-499E-8C1E-728F01A0E84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C5C1DE-7D10-4824-92E9-26331C6C552B}"/>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5" name="Footer Placeholder 4">
            <a:extLst>
              <a:ext uri="{FF2B5EF4-FFF2-40B4-BE49-F238E27FC236}">
                <a16:creationId xmlns:a16="http://schemas.microsoft.com/office/drawing/2014/main" id="{5109ECA9-393A-4C62-A272-BB2B743EE3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D8FBEF-78EE-4954-978B-55ED23D1C902}"/>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34102463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74110-A3F5-4093-AB67-3050C39951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4168B2C-DED7-4303-9F9D-6BBD88B12D3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66F3BE-F07E-4D6E-BB04-25D8F7956A3F}"/>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5" name="Footer Placeholder 4">
            <a:extLst>
              <a:ext uri="{FF2B5EF4-FFF2-40B4-BE49-F238E27FC236}">
                <a16:creationId xmlns:a16="http://schemas.microsoft.com/office/drawing/2014/main" id="{4B73486C-4CA5-4EAC-9A63-5337B070B5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546F38-B9B2-4B76-8630-8E7863528623}"/>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23246313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5264E-4729-47C9-AC5F-3A589826696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796BFCC-5DDC-4B52-9A6B-C8ADD81024F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B4C2354-0CD2-474C-826E-994046223D35}"/>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5" name="Footer Placeholder 4">
            <a:extLst>
              <a:ext uri="{FF2B5EF4-FFF2-40B4-BE49-F238E27FC236}">
                <a16:creationId xmlns:a16="http://schemas.microsoft.com/office/drawing/2014/main" id="{12330377-9C04-4E7C-AA12-3DFAA9D8D4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3AFB01-A131-40F6-9ACC-CA412C8861B6}"/>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2362223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BE54E-2F61-4771-93C5-79CC510C36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8FD5A1-0AA3-4B65-A8BD-24CE6851D9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D8D07A-8CF8-44B3-A7D8-4FFC980BB1E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B684C7D-40A1-4136-BE59-6BF84D4E3BA7}"/>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6" name="Footer Placeholder 5">
            <a:extLst>
              <a:ext uri="{FF2B5EF4-FFF2-40B4-BE49-F238E27FC236}">
                <a16:creationId xmlns:a16="http://schemas.microsoft.com/office/drawing/2014/main" id="{2ECFC670-70CD-4BE3-9ED4-7293FC24B0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75B6AA-ABF1-4091-A5C0-4AB9D4A90F15}"/>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1269848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EF09-8B18-4224-BD62-9CEB7612D9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B706CE0-D420-4DC3-A633-9ED9A233AE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0EF7BF2-5AC4-49C9-A258-191641CE270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244C4F4-A7F2-4AC5-A071-ADF3D59E44B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AB3FD-2680-4077-80DD-5AB23B7A58F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588A3B-3B87-4F4E-A738-718C1278EC2F}"/>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8" name="Footer Placeholder 7">
            <a:extLst>
              <a:ext uri="{FF2B5EF4-FFF2-40B4-BE49-F238E27FC236}">
                <a16:creationId xmlns:a16="http://schemas.microsoft.com/office/drawing/2014/main" id="{B06E238A-AA6F-46D2-9289-EF66D58FAD8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429F8C-0995-407F-9730-023B99BE3A0A}"/>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3206011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1DB06-BBE9-4E8E-A196-015A6014723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A348B7F-4272-4835-9495-CCF319EE43ED}"/>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4" name="Footer Placeholder 3">
            <a:extLst>
              <a:ext uri="{FF2B5EF4-FFF2-40B4-BE49-F238E27FC236}">
                <a16:creationId xmlns:a16="http://schemas.microsoft.com/office/drawing/2014/main" id="{7C92BB91-BF25-4CCB-89BB-3C8C42D9B9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97A8BE-FC79-46F5-8A12-88E03DB9C0AB}"/>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3951108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6435287-D219-44D0-B3B6-8E1EC4A39E2A}"/>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3" name="Footer Placeholder 2">
            <a:extLst>
              <a:ext uri="{FF2B5EF4-FFF2-40B4-BE49-F238E27FC236}">
                <a16:creationId xmlns:a16="http://schemas.microsoft.com/office/drawing/2014/main" id="{7948623D-EDFB-49F0-9E9F-5E6AE5A2F8B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C58D5AC-A972-4507-B1A6-9FE240579546}"/>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1104991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164E8-95A4-438A-860A-C1342620B7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B8535DD-419C-42F4-97F5-7CD0B6E5AA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7083B82-3DA0-450B-B588-5FDB0A17F7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A1D429-F8CF-4B03-8C76-7129747ECD4B}"/>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6" name="Footer Placeholder 5">
            <a:extLst>
              <a:ext uri="{FF2B5EF4-FFF2-40B4-BE49-F238E27FC236}">
                <a16:creationId xmlns:a16="http://schemas.microsoft.com/office/drawing/2014/main" id="{0B10971C-C01A-41A8-8D15-71C2A2242E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356D86-C883-4341-8BEC-BACAD0945938}"/>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41317457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43C9B-1BCE-4CFB-8989-79A410F443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4DCF14F-7285-492B-A7BA-9F438C13B8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35E3C11-0F96-4146-9025-A6ECBD9C27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C4720E-8949-47A3-847D-02809C748895}"/>
              </a:ext>
            </a:extLst>
          </p:cNvPr>
          <p:cNvSpPr>
            <a:spLocks noGrp="1"/>
          </p:cNvSpPr>
          <p:nvPr>
            <p:ph type="dt" sz="half" idx="10"/>
          </p:nvPr>
        </p:nvSpPr>
        <p:spPr/>
        <p:txBody>
          <a:bodyPr/>
          <a:lstStyle/>
          <a:p>
            <a:fld id="{77AAA4BF-67D9-4444-8B33-6E4762B5804A}" type="datetimeFigureOut">
              <a:rPr lang="en-US" smtClean="0"/>
              <a:t>12/2/2020</a:t>
            </a:fld>
            <a:endParaRPr lang="en-US"/>
          </a:p>
        </p:txBody>
      </p:sp>
      <p:sp>
        <p:nvSpPr>
          <p:cNvPr id="6" name="Footer Placeholder 5">
            <a:extLst>
              <a:ext uri="{FF2B5EF4-FFF2-40B4-BE49-F238E27FC236}">
                <a16:creationId xmlns:a16="http://schemas.microsoft.com/office/drawing/2014/main" id="{B90B4059-48D7-48A0-B5C1-B8E46061C8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F395CF-338C-417D-9B5E-5EE9CD0484E8}"/>
              </a:ext>
            </a:extLst>
          </p:cNvPr>
          <p:cNvSpPr>
            <a:spLocks noGrp="1"/>
          </p:cNvSpPr>
          <p:nvPr>
            <p:ph type="sldNum" sz="quarter" idx="12"/>
          </p:nvPr>
        </p:nvSpPr>
        <p:spPr/>
        <p:txBody>
          <a:bodyPr/>
          <a:lstStyle/>
          <a:p>
            <a:fld id="{D160CB6A-70F1-4839-A8F3-27CF81843EBF}" type="slidenum">
              <a:rPr lang="en-US" smtClean="0"/>
              <a:t>‹#›</a:t>
            </a:fld>
            <a:endParaRPr lang="en-US"/>
          </a:p>
        </p:txBody>
      </p:sp>
    </p:spTree>
    <p:extLst>
      <p:ext uri="{BB962C8B-B14F-4D97-AF65-F5344CB8AC3E}">
        <p14:creationId xmlns:p14="http://schemas.microsoft.com/office/powerpoint/2010/main" val="28612498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B36D6E-B14C-4812-AA0A-F50B1DE0CA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FD6570E-A588-4D11-8AD8-7CF190430D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01392D-8E26-443F-A9B5-76337F55602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AAA4BF-67D9-4444-8B33-6E4762B5804A}" type="datetimeFigureOut">
              <a:rPr lang="en-US" smtClean="0"/>
              <a:t>12/2/2020</a:t>
            </a:fld>
            <a:endParaRPr lang="en-US"/>
          </a:p>
        </p:txBody>
      </p:sp>
      <p:sp>
        <p:nvSpPr>
          <p:cNvPr id="5" name="Footer Placeholder 4">
            <a:extLst>
              <a:ext uri="{FF2B5EF4-FFF2-40B4-BE49-F238E27FC236}">
                <a16:creationId xmlns:a16="http://schemas.microsoft.com/office/drawing/2014/main" id="{73D8B58C-61C1-4748-BA01-23CC6ED8C81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511D5E-BA8E-46C0-BE15-282C8BDE2F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60CB6A-70F1-4839-A8F3-27CF81843EBF}" type="slidenum">
              <a:rPr lang="en-US" smtClean="0"/>
              <a:t>‹#›</a:t>
            </a:fld>
            <a:endParaRPr lang="en-US"/>
          </a:p>
        </p:txBody>
      </p:sp>
    </p:spTree>
    <p:extLst>
      <p:ext uri="{BB962C8B-B14F-4D97-AF65-F5344CB8AC3E}">
        <p14:creationId xmlns:p14="http://schemas.microsoft.com/office/powerpoint/2010/main" val="41541122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5.png"/><Relationship Id="rId7" Type="http://schemas.openxmlformats.org/officeDocument/2006/relationships/chart" Target="../charts/chart1.xml"/><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slideLayout" Target="../slideLayouts/slideLayout2.xml"/><Relationship Id="rId16" Type="http://schemas.openxmlformats.org/officeDocument/2006/relationships/image" Target="../media/image27.png"/><Relationship Id="rId20" Type="http://schemas.openxmlformats.org/officeDocument/2006/relationships/image" Target="../media/image31.png"/><Relationship Id="rId1" Type="http://schemas.openxmlformats.org/officeDocument/2006/relationships/tags" Target="../tags/tag1.xml"/><Relationship Id="rId6" Type="http://schemas.openxmlformats.org/officeDocument/2006/relationships/image" Target="../media/image18.png"/><Relationship Id="rId11" Type="http://schemas.openxmlformats.org/officeDocument/2006/relationships/image" Target="../media/image22.png"/><Relationship Id="rId5" Type="http://schemas.openxmlformats.org/officeDocument/2006/relationships/image" Target="../media/image17.png"/><Relationship Id="rId15" Type="http://schemas.openxmlformats.org/officeDocument/2006/relationships/image" Target="../media/image26.png"/><Relationship Id="rId10" Type="http://schemas.openxmlformats.org/officeDocument/2006/relationships/image" Target="../media/image21.png"/><Relationship Id="rId19" Type="http://schemas.openxmlformats.org/officeDocument/2006/relationships/image" Target="../media/image30.png"/><Relationship Id="rId4" Type="http://schemas.openxmlformats.org/officeDocument/2006/relationships/image" Target="../media/image16.png"/><Relationship Id="rId9" Type="http://schemas.openxmlformats.org/officeDocument/2006/relationships/image" Target="../media/image20.png"/><Relationship Id="rId1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0" name="Rectangle 139">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Shape 141">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Freeform: Shape 147">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0" name="Isosceles Triangle 149">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Picture 2">
            <a:extLst>
              <a:ext uri="{FF2B5EF4-FFF2-40B4-BE49-F238E27FC236}">
                <a16:creationId xmlns:a16="http://schemas.microsoft.com/office/drawing/2014/main" id="{636D30F3-F15C-48D3-96C7-D94D185D452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782" b="7762"/>
          <a:stretch/>
        </p:blipFill>
        <p:spPr bwMode="auto">
          <a:xfrm>
            <a:off x="643467" y="838691"/>
            <a:ext cx="10905066" cy="518061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52" name="Isosceles Triangle 151">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21976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2E3049-03A0-4F7D-987B-924CC0066E7E}"/>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4000" b="1">
                <a:solidFill>
                  <a:schemeClr val="bg1"/>
                </a:solidFill>
                <a:latin typeface="Calibri Light"/>
                <a:cs typeface="Times New Roman"/>
              </a:rPr>
              <a:t>PROJECT</a:t>
            </a:r>
            <a:r>
              <a:rPr lang="en-US" sz="4000" b="1" kern="1200">
                <a:solidFill>
                  <a:schemeClr val="bg1"/>
                </a:solidFill>
                <a:latin typeface="Calibri Light"/>
                <a:cs typeface="Times New Roman"/>
              </a:rPr>
              <a:t> </a:t>
            </a:r>
            <a:r>
              <a:rPr lang="en-US" sz="4000" b="1">
                <a:solidFill>
                  <a:schemeClr val="bg1"/>
                </a:solidFill>
                <a:latin typeface="Calibri Light"/>
                <a:cs typeface="Times New Roman"/>
              </a:rPr>
              <a:t>PRIORITIZATION MODELS: VENN DIAGRAM</a:t>
            </a:r>
          </a:p>
        </p:txBody>
      </p:sp>
      <p:sp>
        <p:nvSpPr>
          <p:cNvPr id="3" name="TextBox 2">
            <a:extLst>
              <a:ext uri="{FF2B5EF4-FFF2-40B4-BE49-F238E27FC236}">
                <a16:creationId xmlns:a16="http://schemas.microsoft.com/office/drawing/2014/main" id="{830F22B0-C1E3-4B7C-9397-FE57DA2F54B2}"/>
              </a:ext>
            </a:extLst>
          </p:cNvPr>
          <p:cNvSpPr txBox="1"/>
          <p:nvPr/>
        </p:nvSpPr>
        <p:spPr>
          <a:xfrm>
            <a:off x="1532238" y="2541373"/>
            <a:ext cx="5935362" cy="10283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6" name="Oval 5">
            <a:extLst>
              <a:ext uri="{FF2B5EF4-FFF2-40B4-BE49-F238E27FC236}">
                <a16:creationId xmlns:a16="http://schemas.microsoft.com/office/drawing/2014/main" id="{937BAA88-9E96-4388-9C67-2034299AF30E}"/>
              </a:ext>
            </a:extLst>
          </p:cNvPr>
          <p:cNvSpPr/>
          <p:nvPr/>
        </p:nvSpPr>
        <p:spPr>
          <a:xfrm>
            <a:off x="3285570" y="2540399"/>
            <a:ext cx="2744775" cy="195214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Oval 7">
            <a:extLst>
              <a:ext uri="{FF2B5EF4-FFF2-40B4-BE49-F238E27FC236}">
                <a16:creationId xmlns:a16="http://schemas.microsoft.com/office/drawing/2014/main" id="{022CEC0C-E86B-4823-A759-11E71212A213}"/>
              </a:ext>
            </a:extLst>
          </p:cNvPr>
          <p:cNvSpPr/>
          <p:nvPr/>
        </p:nvSpPr>
        <p:spPr>
          <a:xfrm>
            <a:off x="5210037" y="2457437"/>
            <a:ext cx="2653283" cy="198356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Oval 8">
            <a:extLst>
              <a:ext uri="{FF2B5EF4-FFF2-40B4-BE49-F238E27FC236}">
                <a16:creationId xmlns:a16="http://schemas.microsoft.com/office/drawing/2014/main" id="{278FDF45-CCEB-48EB-A004-1B3955AB0078}"/>
              </a:ext>
            </a:extLst>
          </p:cNvPr>
          <p:cNvSpPr/>
          <p:nvPr/>
        </p:nvSpPr>
        <p:spPr>
          <a:xfrm>
            <a:off x="4354262" y="1637372"/>
            <a:ext cx="2378805" cy="169839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10" name="Straight Arrow Connector 9">
            <a:extLst>
              <a:ext uri="{FF2B5EF4-FFF2-40B4-BE49-F238E27FC236}">
                <a16:creationId xmlns:a16="http://schemas.microsoft.com/office/drawing/2014/main" id="{2C5A298F-A770-4302-9035-4F7198CD0A34}"/>
              </a:ext>
            </a:extLst>
          </p:cNvPr>
          <p:cNvCxnSpPr>
            <a:cxnSpLocks/>
          </p:cNvCxnSpPr>
          <p:nvPr/>
        </p:nvCxnSpPr>
        <p:spPr>
          <a:xfrm flipV="1">
            <a:off x="5608759" y="3084928"/>
            <a:ext cx="3151497" cy="45758"/>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 name="TextBox 11">
            <a:extLst>
              <a:ext uri="{FF2B5EF4-FFF2-40B4-BE49-F238E27FC236}">
                <a16:creationId xmlns:a16="http://schemas.microsoft.com/office/drawing/2014/main" id="{7D103605-25F8-45C3-9822-6E904EF237B8}"/>
              </a:ext>
            </a:extLst>
          </p:cNvPr>
          <p:cNvSpPr txBox="1"/>
          <p:nvPr/>
        </p:nvSpPr>
        <p:spPr>
          <a:xfrm>
            <a:off x="9045878" y="2876949"/>
            <a:ext cx="2287313" cy="383303"/>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atin typeface="Calibri Light"/>
                <a:cs typeface="Calibri Light"/>
              </a:rPr>
              <a:t>Project Alignment</a:t>
            </a:r>
          </a:p>
        </p:txBody>
      </p:sp>
      <p:sp>
        <p:nvSpPr>
          <p:cNvPr id="12" name="TextBox 12">
            <a:extLst>
              <a:ext uri="{FF2B5EF4-FFF2-40B4-BE49-F238E27FC236}">
                <a16:creationId xmlns:a16="http://schemas.microsoft.com/office/drawing/2014/main" id="{6AD021AC-B17F-4179-9A4D-5D6DC0C12071}"/>
              </a:ext>
            </a:extLst>
          </p:cNvPr>
          <p:cNvSpPr txBox="1"/>
          <p:nvPr/>
        </p:nvSpPr>
        <p:spPr>
          <a:xfrm>
            <a:off x="6103263" y="3361147"/>
            <a:ext cx="1565713" cy="41524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a:latin typeface="Calibri Light"/>
                <a:cs typeface="Calibri Light"/>
              </a:rPr>
              <a:t>Resources</a:t>
            </a:r>
          </a:p>
        </p:txBody>
      </p:sp>
      <p:sp>
        <p:nvSpPr>
          <p:cNvPr id="13" name="TextBox 13">
            <a:extLst>
              <a:ext uri="{FF2B5EF4-FFF2-40B4-BE49-F238E27FC236}">
                <a16:creationId xmlns:a16="http://schemas.microsoft.com/office/drawing/2014/main" id="{C6E17EDC-B971-4680-8C43-5745B486C2A2}"/>
              </a:ext>
            </a:extLst>
          </p:cNvPr>
          <p:cNvSpPr txBox="1"/>
          <p:nvPr/>
        </p:nvSpPr>
        <p:spPr>
          <a:xfrm>
            <a:off x="3638138" y="3191123"/>
            <a:ext cx="2104327" cy="734663"/>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a:latin typeface="Calibri Light"/>
                <a:cs typeface="Calibri Light"/>
              </a:rPr>
              <a:t>Client(s) or constituencies</a:t>
            </a:r>
            <a:endParaRPr lang="en-US" sz="2400">
              <a:latin typeface="Calibri Light"/>
              <a:cs typeface="Calibri Light"/>
            </a:endParaRPr>
          </a:p>
        </p:txBody>
      </p:sp>
      <p:sp>
        <p:nvSpPr>
          <p:cNvPr id="14" name="TextBox 14">
            <a:extLst>
              <a:ext uri="{FF2B5EF4-FFF2-40B4-BE49-F238E27FC236}">
                <a16:creationId xmlns:a16="http://schemas.microsoft.com/office/drawing/2014/main" id="{0B28190D-A9C0-4AC8-870D-A52EC38CC1FE}"/>
              </a:ext>
            </a:extLst>
          </p:cNvPr>
          <p:cNvSpPr txBox="1"/>
          <p:nvPr/>
        </p:nvSpPr>
        <p:spPr>
          <a:xfrm>
            <a:off x="4691824" y="2041204"/>
            <a:ext cx="2005935" cy="4001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a:latin typeface="Calibri Light"/>
                <a:cs typeface="Calibri Light"/>
              </a:rPr>
              <a:t>Mission/Business</a:t>
            </a:r>
          </a:p>
        </p:txBody>
      </p:sp>
      <p:sp>
        <p:nvSpPr>
          <p:cNvPr id="4" name="TextBox 3">
            <a:extLst>
              <a:ext uri="{FF2B5EF4-FFF2-40B4-BE49-F238E27FC236}">
                <a16:creationId xmlns:a16="http://schemas.microsoft.com/office/drawing/2014/main" id="{D07DB012-54B4-496E-8BA2-9272CACF0D14}"/>
              </a:ext>
            </a:extLst>
          </p:cNvPr>
          <p:cNvSpPr txBox="1"/>
          <p:nvPr/>
        </p:nvSpPr>
        <p:spPr>
          <a:xfrm>
            <a:off x="1144429" y="5230297"/>
            <a:ext cx="991144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a:latin typeface="Calibri Light"/>
                <a:cs typeface="Calibri Light"/>
              </a:rPr>
              <a:t>Venn diagrams are used to compare sets of data or ideas. They can be used to classify and/or show relationships between sets and therefore contribute to planning and prioritizing.</a:t>
            </a:r>
          </a:p>
        </p:txBody>
      </p:sp>
    </p:spTree>
    <p:extLst>
      <p:ext uri="{BB962C8B-B14F-4D97-AF65-F5344CB8AC3E}">
        <p14:creationId xmlns:p14="http://schemas.microsoft.com/office/powerpoint/2010/main" val="2535490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2" name="Rectangle 191">
            <a:extLst>
              <a:ext uri="{FF2B5EF4-FFF2-40B4-BE49-F238E27FC236}">
                <a16:creationId xmlns:a16="http://schemas.microsoft.com/office/drawing/2014/main" id="{E45B1D5C-0827-4AF0-8186-11FC5A8B8B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D08FAFF-37F1-4FC0-97F8-B92BAC3DA71A}"/>
              </a:ext>
            </a:extLst>
          </p:cNvPr>
          <p:cNvSpPr>
            <a:spLocks noGrp="1"/>
          </p:cNvSpPr>
          <p:nvPr>
            <p:ph type="title"/>
          </p:nvPr>
        </p:nvSpPr>
        <p:spPr>
          <a:xfrm>
            <a:off x="8977624" y="2502432"/>
            <a:ext cx="3108251" cy="2366748"/>
          </a:xfrm>
        </p:spPr>
        <p:txBody>
          <a:bodyPr vert="horz" lIns="91440" tIns="45720" rIns="91440" bIns="45720" rtlCol="0" anchor="ctr">
            <a:normAutofit/>
          </a:bodyPr>
          <a:lstStyle/>
          <a:p>
            <a:pPr algn="ctr"/>
            <a:r>
              <a:rPr lang="en-US" sz="3400" b="1"/>
              <a:t>PROJECT ORGANIZATION 	</a:t>
            </a:r>
            <a:endParaRPr lang="en-US" sz="3400" b="1">
              <a:cs typeface="Calibri Light"/>
            </a:endParaRPr>
          </a:p>
        </p:txBody>
      </p:sp>
      <p:sp>
        <p:nvSpPr>
          <p:cNvPr id="193" name="Rectangle 192">
            <a:extLst>
              <a:ext uri="{FF2B5EF4-FFF2-40B4-BE49-F238E27FC236}">
                <a16:creationId xmlns:a16="http://schemas.microsoft.com/office/drawing/2014/main" id="{99413ED5-9ED4-4772-BCE4-2BCAE6B12E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433973" y="-827233"/>
            <a:ext cx="1715478" cy="85834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04357C93-F0CB-4A1C-8F77-4E90637898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2085" y="664308"/>
            <a:ext cx="8082632" cy="560034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4" name="Picture 2" descr="Diagram&#10;&#10;Description automatically generated">
            <a:extLst>
              <a:ext uri="{FF2B5EF4-FFF2-40B4-BE49-F238E27FC236}">
                <a16:creationId xmlns:a16="http://schemas.microsoft.com/office/drawing/2014/main" id="{83685410-514B-4BC0-832F-11A0A93F430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906" r="1" b="272"/>
          <a:stretch/>
        </p:blipFill>
        <p:spPr bwMode="auto">
          <a:xfrm>
            <a:off x="545238" y="858525"/>
            <a:ext cx="7608304" cy="5211906"/>
          </a:xfrm>
          <a:prstGeom prst="rect">
            <a:avLst/>
          </a:prstGeom>
          <a:noFill/>
          <a:extLst>
            <a:ext uri="{909E8E84-426E-40DD-AFC4-6F175D3DCCD1}">
              <a14:hiddenFill xmlns:a14="http://schemas.microsoft.com/office/drawing/2010/main">
                <a:solidFill>
                  <a:srgbClr val="FFFFFF"/>
                </a:solidFill>
              </a14:hiddenFill>
            </a:ext>
          </a:extLst>
        </p:spPr>
      </p:pic>
      <p:sp>
        <p:nvSpPr>
          <p:cNvPr id="195" name="Rectangle 194">
            <a:extLst>
              <a:ext uri="{FF2B5EF4-FFF2-40B4-BE49-F238E27FC236}">
                <a16:creationId xmlns:a16="http://schemas.microsoft.com/office/drawing/2014/main" id="{90F533E9-6690-41A8-A372-4C6C622D02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950447" y="3392097"/>
            <a:ext cx="1719072"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91069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9">
            <a:extLst>
              <a:ext uri="{FF2B5EF4-FFF2-40B4-BE49-F238E27FC236}">
                <a16:creationId xmlns:a16="http://schemas.microsoft.com/office/drawing/2014/main" id="{62542EEC-4F7C-4AE2-933E-EAC8EB3FA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A9E4D676-313D-4EB6-B564-6BB888196C99}"/>
              </a:ext>
            </a:extLst>
          </p:cNvPr>
          <p:cNvSpPr txBox="1">
            <a:spLocks/>
          </p:cNvSpPr>
          <p:nvPr/>
        </p:nvSpPr>
        <p:spPr>
          <a:xfrm>
            <a:off x="7041856" y="3113415"/>
            <a:ext cx="4036334" cy="2387600"/>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600"/>
              </a:spcAft>
            </a:pPr>
            <a:r>
              <a:rPr lang="en-US" sz="5400"/>
              <a:t>Engagement Plan</a:t>
            </a:r>
          </a:p>
        </p:txBody>
      </p:sp>
      <p:sp>
        <p:nvSpPr>
          <p:cNvPr id="18" name="Rectangle 21">
            <a:extLst>
              <a:ext uri="{FF2B5EF4-FFF2-40B4-BE49-F238E27FC236}">
                <a16:creationId xmlns:a16="http://schemas.microsoft.com/office/drawing/2014/main" id="{B81933D1-5615-42C7-9C0B-4EB7105CCE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23">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6824" y="391886"/>
            <a:ext cx="6009366" cy="6017078"/>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5">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460480" y="3154317"/>
            <a:ext cx="731521" cy="673460"/>
            <a:chOff x="3940602" y="308034"/>
            <a:chExt cx="2116791" cy="3428999"/>
          </a:xfrm>
          <a:solidFill>
            <a:schemeClr val="accent4"/>
          </a:solidFill>
        </p:grpSpPr>
        <p:sp>
          <p:nvSpPr>
            <p:cNvPr id="27" name="Rectangle 26">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9" name="Content Placeholder 2">
            <a:extLst>
              <a:ext uri="{FF2B5EF4-FFF2-40B4-BE49-F238E27FC236}">
                <a16:creationId xmlns:a16="http://schemas.microsoft.com/office/drawing/2014/main" id="{C84AB610-81C7-4910-8F4E-3498693777A3}"/>
              </a:ext>
            </a:extLst>
          </p:cNvPr>
          <p:cNvGraphicFramePr/>
          <p:nvPr>
            <p:extLst>
              <p:ext uri="{D42A27DB-BD31-4B8C-83A1-F6EECF244321}">
                <p14:modId xmlns:p14="http://schemas.microsoft.com/office/powerpoint/2010/main" val="1376444838"/>
              </p:ext>
            </p:extLst>
          </p:nvPr>
        </p:nvGraphicFramePr>
        <p:xfrm>
          <a:off x="6418817" y="831818"/>
          <a:ext cx="5408148" cy="51877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6" name="TextBox 85">
            <a:extLst>
              <a:ext uri="{FF2B5EF4-FFF2-40B4-BE49-F238E27FC236}">
                <a16:creationId xmlns:a16="http://schemas.microsoft.com/office/drawing/2014/main" id="{8E6CF196-8F6C-4886-B0D5-90541ED993EE}"/>
              </a:ext>
            </a:extLst>
          </p:cNvPr>
          <p:cNvSpPr txBox="1"/>
          <p:nvPr/>
        </p:nvSpPr>
        <p:spPr>
          <a:xfrm>
            <a:off x="1023257" y="2677886"/>
            <a:ext cx="4847771"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4000" b="1">
                <a:latin typeface="Calibri Light"/>
                <a:cs typeface="Calibri"/>
              </a:rPr>
              <a:t>ENGAGEMENT PLAN</a:t>
            </a:r>
            <a:endParaRPr lang="en-US" sz="4000" b="1">
              <a:latin typeface="Calibri Light"/>
            </a:endParaRPr>
          </a:p>
        </p:txBody>
      </p:sp>
    </p:spTree>
    <p:extLst>
      <p:ext uri="{BB962C8B-B14F-4D97-AF65-F5344CB8AC3E}">
        <p14:creationId xmlns:p14="http://schemas.microsoft.com/office/powerpoint/2010/main" val="33072724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 name="Rectangle 42">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0785EC6B-0FD6-4F4A-B0E3-B6770AB25FD3}"/>
              </a:ext>
            </a:extLst>
          </p:cNvPr>
          <p:cNvSpPr txBox="1"/>
          <p:nvPr/>
        </p:nvSpPr>
        <p:spPr>
          <a:xfrm>
            <a:off x="497001" y="964935"/>
            <a:ext cx="11210925" cy="744836"/>
          </a:xfrm>
          <a:prstGeom prst="rect">
            <a:avLst/>
          </a:prstGeom>
        </p:spPr>
        <p:txBody>
          <a:bodyPr rot="0" spcFirstLastPara="0" vertOverflow="overflow" horzOverflow="overflow" vert="horz" lIns="91440" tIns="45720" rIns="91440" bIns="45720" numCol="1" spcCol="0" rtlCol="0" fromWordArt="0" anchor="ctr" anchorCtr="0" forceAA="0" compatLnSpc="1">
            <a:prstTxWarp prst="textNoShape">
              <a:avLst/>
            </a:prstTxWarp>
            <a:normAutofit/>
          </a:bodyPr>
          <a:lstStyle/>
          <a:p>
            <a:pPr algn="ctr">
              <a:lnSpc>
                <a:spcPct val="90000"/>
              </a:lnSpc>
              <a:spcBef>
                <a:spcPct val="0"/>
              </a:spcBef>
              <a:spcAft>
                <a:spcPts val="600"/>
              </a:spcAft>
            </a:pPr>
            <a:r>
              <a:rPr lang="en-US" sz="4000" b="1" kern="1200">
                <a:solidFill>
                  <a:schemeClr val="bg1"/>
                </a:solidFill>
                <a:latin typeface="+mj-lt"/>
                <a:ea typeface="+mj-ea"/>
                <a:cs typeface="+mj-cs"/>
              </a:rPr>
              <a:t>RACI  CHART </a:t>
            </a:r>
            <a:endParaRPr lang="en-US" sz="4000" b="1" kern="1200">
              <a:solidFill>
                <a:schemeClr val="bg1"/>
              </a:solidFill>
              <a:latin typeface="+mj-lt"/>
              <a:ea typeface="+mj-ea"/>
              <a:cs typeface="Calibri Light"/>
            </a:endParaRPr>
          </a:p>
          <a:p>
            <a:pPr algn="ctr">
              <a:lnSpc>
                <a:spcPct val="90000"/>
              </a:lnSpc>
              <a:spcBef>
                <a:spcPct val="0"/>
              </a:spcBef>
              <a:spcAft>
                <a:spcPts val="600"/>
              </a:spcAft>
            </a:pPr>
            <a:endParaRPr lang="en-US" sz="4000" kern="1200">
              <a:solidFill>
                <a:schemeClr val="bg1"/>
              </a:solidFill>
              <a:latin typeface="+mj-lt"/>
              <a:ea typeface="+mj-ea"/>
              <a:cs typeface="Calibri Light"/>
            </a:endParaRPr>
          </a:p>
        </p:txBody>
      </p:sp>
      <p:graphicFrame>
        <p:nvGraphicFramePr>
          <p:cNvPr id="4" name="Content Placeholder 3">
            <a:extLst>
              <a:ext uri="{FF2B5EF4-FFF2-40B4-BE49-F238E27FC236}">
                <a16:creationId xmlns:a16="http://schemas.microsoft.com/office/drawing/2014/main" id="{A09BB9AE-5807-4078-8F86-660AD63F46C0}"/>
              </a:ext>
            </a:extLst>
          </p:cNvPr>
          <p:cNvGraphicFramePr>
            <a:graphicFrameLocks noGrp="1"/>
          </p:cNvGraphicFramePr>
          <p:nvPr>
            <p:ph idx="1"/>
            <p:extLst>
              <p:ext uri="{D42A27DB-BD31-4B8C-83A1-F6EECF244321}">
                <p14:modId xmlns:p14="http://schemas.microsoft.com/office/powerpoint/2010/main" val="1023560674"/>
              </p:ext>
            </p:extLst>
          </p:nvPr>
        </p:nvGraphicFramePr>
        <p:xfrm>
          <a:off x="1583517" y="1675227"/>
          <a:ext cx="9024969" cy="4357005"/>
        </p:xfrm>
        <a:graphic>
          <a:graphicData uri="http://schemas.openxmlformats.org/drawingml/2006/table">
            <a:tbl>
              <a:tblPr firstRow="1" bandRow="1">
                <a:tableStyleId>{85BE263C-DBD7-4A20-BB59-AAB30ACAA65A}</a:tableStyleId>
              </a:tblPr>
              <a:tblGrid>
                <a:gridCol w="3268342">
                  <a:extLst>
                    <a:ext uri="{9D8B030D-6E8A-4147-A177-3AD203B41FA5}">
                      <a16:colId xmlns:a16="http://schemas.microsoft.com/office/drawing/2014/main" val="3480285325"/>
                    </a:ext>
                  </a:extLst>
                </a:gridCol>
                <a:gridCol w="896010">
                  <a:extLst>
                    <a:ext uri="{9D8B030D-6E8A-4147-A177-3AD203B41FA5}">
                      <a16:colId xmlns:a16="http://schemas.microsoft.com/office/drawing/2014/main" val="1910747115"/>
                    </a:ext>
                  </a:extLst>
                </a:gridCol>
                <a:gridCol w="1070682">
                  <a:extLst>
                    <a:ext uri="{9D8B030D-6E8A-4147-A177-3AD203B41FA5}">
                      <a16:colId xmlns:a16="http://schemas.microsoft.com/office/drawing/2014/main" val="2586584278"/>
                    </a:ext>
                  </a:extLst>
                </a:gridCol>
                <a:gridCol w="744303">
                  <a:extLst>
                    <a:ext uri="{9D8B030D-6E8A-4147-A177-3AD203B41FA5}">
                      <a16:colId xmlns:a16="http://schemas.microsoft.com/office/drawing/2014/main" val="2590196492"/>
                    </a:ext>
                  </a:extLst>
                </a:gridCol>
                <a:gridCol w="1109474">
                  <a:extLst>
                    <a:ext uri="{9D8B030D-6E8A-4147-A177-3AD203B41FA5}">
                      <a16:colId xmlns:a16="http://schemas.microsoft.com/office/drawing/2014/main" val="215309876"/>
                    </a:ext>
                  </a:extLst>
                </a:gridCol>
                <a:gridCol w="969545">
                  <a:extLst>
                    <a:ext uri="{9D8B030D-6E8A-4147-A177-3AD203B41FA5}">
                      <a16:colId xmlns:a16="http://schemas.microsoft.com/office/drawing/2014/main" val="3174891607"/>
                    </a:ext>
                  </a:extLst>
                </a:gridCol>
                <a:gridCol w="966613">
                  <a:extLst>
                    <a:ext uri="{9D8B030D-6E8A-4147-A177-3AD203B41FA5}">
                      <a16:colId xmlns:a16="http://schemas.microsoft.com/office/drawing/2014/main" val="1445697060"/>
                    </a:ext>
                  </a:extLst>
                </a:gridCol>
              </a:tblGrid>
              <a:tr h="517270">
                <a:tc>
                  <a:txBody>
                    <a:bodyPr/>
                    <a:lstStyle/>
                    <a:p>
                      <a:pPr algn="l" rtl="0" fontAlgn="base"/>
                      <a:r>
                        <a:rPr lang="en-US" sz="1400" cap="none" spc="0">
                          <a:effectLst/>
                        </a:rPr>
                        <a:t>                        Activity </a:t>
                      </a:r>
                      <a:endParaRPr lang="en-US"/>
                    </a:p>
                  </a:txBody>
                  <a:tcPr marL="191831" marR="115098" marT="115098" marB="115098"/>
                </a:tc>
                <a:tc>
                  <a:txBody>
                    <a:bodyPr/>
                    <a:lstStyle/>
                    <a:p>
                      <a:pPr algn="l" rtl="0" fontAlgn="base"/>
                      <a:r>
                        <a:rPr lang="en-US" sz="1400" cap="none" spc="0">
                          <a:effectLst/>
                        </a:rPr>
                        <a:t>Anchal </a:t>
                      </a:r>
                      <a:endParaRPr lang="en-US"/>
                    </a:p>
                  </a:txBody>
                  <a:tcPr marL="191831" marR="115098" marT="115098" marB="115098"/>
                </a:tc>
                <a:tc>
                  <a:txBody>
                    <a:bodyPr/>
                    <a:lstStyle/>
                    <a:p>
                      <a:pPr algn="l" rtl="0" fontAlgn="base"/>
                      <a:r>
                        <a:rPr lang="en-US" sz="1400" cap="none" spc="0" err="1">
                          <a:effectLst/>
                        </a:rPr>
                        <a:t>Nnadozie</a:t>
                      </a:r>
                      <a:r>
                        <a:rPr lang="en-US" sz="1400" cap="none" spc="0">
                          <a:effectLst/>
                        </a:rPr>
                        <a:t> </a:t>
                      </a:r>
                      <a:endParaRPr lang="en-US"/>
                    </a:p>
                  </a:txBody>
                  <a:tcPr marL="191831" marR="115098" marT="115098" marB="115098"/>
                </a:tc>
                <a:tc>
                  <a:txBody>
                    <a:bodyPr/>
                    <a:lstStyle/>
                    <a:p>
                      <a:pPr algn="l" rtl="0" fontAlgn="base"/>
                      <a:r>
                        <a:rPr lang="en-US" sz="1400" cap="none" spc="0">
                          <a:effectLst/>
                        </a:rPr>
                        <a:t>Felix </a:t>
                      </a:r>
                      <a:endParaRPr lang="en-US"/>
                    </a:p>
                  </a:txBody>
                  <a:tcPr marL="191831" marR="115098" marT="115098" marB="115098"/>
                </a:tc>
                <a:tc>
                  <a:txBody>
                    <a:bodyPr/>
                    <a:lstStyle/>
                    <a:p>
                      <a:pPr algn="l" rtl="0" fontAlgn="base"/>
                      <a:r>
                        <a:rPr lang="en-US" sz="1400" cap="none" spc="0">
                          <a:effectLst/>
                        </a:rPr>
                        <a:t>Namratha </a:t>
                      </a:r>
                      <a:endParaRPr lang="en-US"/>
                    </a:p>
                  </a:txBody>
                  <a:tcPr marL="191831" marR="115098" marT="115098" marB="115098"/>
                </a:tc>
                <a:tc>
                  <a:txBody>
                    <a:bodyPr/>
                    <a:lstStyle/>
                    <a:p>
                      <a:pPr algn="l" rtl="0" fontAlgn="base"/>
                      <a:r>
                        <a:rPr lang="en-US" sz="1400" cap="none" spc="0">
                          <a:effectLst/>
                        </a:rPr>
                        <a:t>Roshani </a:t>
                      </a:r>
                      <a:endParaRPr lang="en-US"/>
                    </a:p>
                  </a:txBody>
                  <a:tcPr marL="191831" marR="115098" marT="115098" marB="115098"/>
                </a:tc>
                <a:tc>
                  <a:txBody>
                    <a:bodyPr/>
                    <a:lstStyle/>
                    <a:p>
                      <a:pPr algn="l" rtl="0" fontAlgn="base"/>
                      <a:r>
                        <a:rPr lang="en-US" sz="1400" cap="none" spc="0">
                          <a:effectLst/>
                        </a:rPr>
                        <a:t>Mrunali </a:t>
                      </a:r>
                      <a:endParaRPr lang="en-US"/>
                    </a:p>
                  </a:txBody>
                  <a:tcPr marL="191831" marR="115098" marT="115098" marB="115098"/>
                </a:tc>
                <a:extLst>
                  <a:ext uri="{0D108BD9-81ED-4DB2-BD59-A6C34878D82A}">
                    <a16:rowId xmlns:a16="http://schemas.microsoft.com/office/drawing/2014/main" val="1414342472"/>
                  </a:ext>
                </a:extLst>
              </a:tr>
              <a:tr h="517270">
                <a:tc>
                  <a:txBody>
                    <a:bodyPr/>
                    <a:lstStyle/>
                    <a:p>
                      <a:pPr algn="l" rtl="0" fontAlgn="base"/>
                      <a:r>
                        <a:rPr lang="en-US" sz="1400" cap="none" spc="0">
                          <a:effectLst/>
                        </a:rPr>
                        <a:t>Create Charter </a:t>
                      </a:r>
                      <a:endParaRPr lang="en-US"/>
                    </a:p>
                  </a:txBody>
                  <a:tcPr marL="191831" marR="115098" marT="115098" marB="115098"/>
                </a:tc>
                <a:tc>
                  <a:txBody>
                    <a:bodyPr/>
                    <a:lstStyle/>
                    <a:p>
                      <a:pPr algn="ctr" rtl="0" fontAlgn="base"/>
                      <a:r>
                        <a:rPr lang="en-US" sz="1400" cap="none" spc="0">
                          <a:effectLst/>
                        </a:rPr>
                        <a:t>A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extLst>
                  <a:ext uri="{0D108BD9-81ED-4DB2-BD59-A6C34878D82A}">
                    <a16:rowId xmlns:a16="http://schemas.microsoft.com/office/drawing/2014/main" val="1678703523"/>
                  </a:ext>
                </a:extLst>
              </a:tr>
              <a:tr h="517270">
                <a:tc>
                  <a:txBody>
                    <a:bodyPr/>
                    <a:lstStyle/>
                    <a:p>
                      <a:pPr algn="l" rtl="0" fontAlgn="base"/>
                      <a:r>
                        <a:rPr lang="en-US" sz="1400" cap="none" spc="0">
                          <a:effectLst/>
                        </a:rPr>
                        <a:t>Requirement Gathering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A </a:t>
                      </a:r>
                      <a:endParaRPr lang="en-US"/>
                    </a:p>
                  </a:txBody>
                  <a:tcPr marL="191831" marR="115098" marT="115098" marB="115098"/>
                </a:tc>
                <a:extLst>
                  <a:ext uri="{0D108BD9-81ED-4DB2-BD59-A6C34878D82A}">
                    <a16:rowId xmlns:a16="http://schemas.microsoft.com/office/drawing/2014/main" val="1749729412"/>
                  </a:ext>
                </a:extLst>
              </a:tr>
              <a:tr h="517270">
                <a:tc>
                  <a:txBody>
                    <a:bodyPr/>
                    <a:lstStyle/>
                    <a:p>
                      <a:pPr algn="l" rtl="0" fontAlgn="base"/>
                      <a:r>
                        <a:rPr lang="en-US" sz="1400" cap="none" spc="0">
                          <a:effectLst/>
                        </a:rPr>
                        <a:t>System Planning &amp; Design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extLst>
                  <a:ext uri="{0D108BD9-81ED-4DB2-BD59-A6C34878D82A}">
                    <a16:rowId xmlns:a16="http://schemas.microsoft.com/office/drawing/2014/main" val="2291594046"/>
                  </a:ext>
                </a:extLst>
              </a:tr>
              <a:tr h="517270">
                <a:tc>
                  <a:txBody>
                    <a:bodyPr/>
                    <a:lstStyle/>
                    <a:p>
                      <a:pPr algn="l" rtl="0" fontAlgn="base"/>
                      <a:r>
                        <a:rPr lang="en-US" sz="1400" cap="none" spc="0">
                          <a:effectLst/>
                        </a:rPr>
                        <a:t>System Integration/Implementation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extLst>
                  <a:ext uri="{0D108BD9-81ED-4DB2-BD59-A6C34878D82A}">
                    <a16:rowId xmlns:a16="http://schemas.microsoft.com/office/drawing/2014/main" val="999420115"/>
                  </a:ext>
                </a:extLst>
              </a:tr>
              <a:tr h="517270">
                <a:tc>
                  <a:txBody>
                    <a:bodyPr/>
                    <a:lstStyle/>
                    <a:p>
                      <a:pPr algn="l" rtl="0" fontAlgn="base"/>
                      <a:r>
                        <a:rPr lang="en-US" sz="1400" cap="none" spc="0">
                          <a:effectLst/>
                        </a:rPr>
                        <a:t>System Test Plan </a:t>
                      </a:r>
                      <a:endParaRPr lang="en-US"/>
                    </a:p>
                  </a:txBody>
                  <a:tcPr marL="191831" marR="115098" marT="115098" marB="115098"/>
                </a:tc>
                <a:tc>
                  <a:txBody>
                    <a:bodyPr/>
                    <a:lstStyle/>
                    <a:p>
                      <a:pPr algn="ctr" rtl="0" fontAlgn="base"/>
                      <a:r>
                        <a:rPr lang="en-US" sz="1400" cap="none" spc="0">
                          <a:effectLst/>
                        </a:rPr>
                        <a:t>A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extLst>
                  <a:ext uri="{0D108BD9-81ED-4DB2-BD59-A6C34878D82A}">
                    <a16:rowId xmlns:a16="http://schemas.microsoft.com/office/drawing/2014/main" val="2528432196"/>
                  </a:ext>
                </a:extLst>
              </a:tr>
              <a:tr h="736115">
                <a:tc>
                  <a:txBody>
                    <a:bodyPr/>
                    <a:lstStyle/>
                    <a:p>
                      <a:pPr algn="l" rtl="0" fontAlgn="base"/>
                      <a:r>
                        <a:rPr lang="en-US" sz="1400" cap="none" spc="0">
                          <a:effectLst/>
                        </a:rPr>
                        <a:t>Submit Change Request Due to Bugs or unforeseen Circumstances </a:t>
                      </a:r>
                      <a:endParaRPr lang="en-US"/>
                    </a:p>
                  </a:txBody>
                  <a:tcPr marL="191831" marR="115098" marT="115098" marB="115098"/>
                </a:tc>
                <a:tc>
                  <a:txBody>
                    <a:bodyPr/>
                    <a:lstStyle/>
                    <a:p>
                      <a:pPr algn="ctr" rtl="0" fontAlgn="base"/>
                      <a:r>
                        <a:rPr lang="en-US" sz="1400" cap="none" spc="0">
                          <a:effectLst/>
                        </a:rPr>
                        <a:t>A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tc>
                  <a:txBody>
                    <a:bodyPr/>
                    <a:lstStyle/>
                    <a:p>
                      <a:pPr algn="ctr" rtl="0" fontAlgn="base"/>
                      <a:r>
                        <a:rPr lang="en-US" sz="1400" cap="none" spc="0">
                          <a:effectLst/>
                        </a:rPr>
                        <a:t>I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extLst>
                  <a:ext uri="{0D108BD9-81ED-4DB2-BD59-A6C34878D82A}">
                    <a16:rowId xmlns:a16="http://schemas.microsoft.com/office/drawing/2014/main" val="2275710581"/>
                  </a:ext>
                </a:extLst>
              </a:tr>
              <a:tr h="517270">
                <a:tc>
                  <a:txBody>
                    <a:bodyPr/>
                    <a:lstStyle/>
                    <a:p>
                      <a:pPr algn="l" rtl="0" fontAlgn="base"/>
                      <a:r>
                        <a:rPr lang="en-US" sz="1400" cap="none" spc="0">
                          <a:effectLst/>
                        </a:rPr>
                        <a:t>Final Report </a:t>
                      </a:r>
                      <a:endParaRPr lang="en-US"/>
                    </a:p>
                  </a:txBody>
                  <a:tcPr marL="191831" marR="115098" marT="115098" marB="115098"/>
                </a:tc>
                <a:tc>
                  <a:txBody>
                    <a:bodyPr/>
                    <a:lstStyle/>
                    <a:p>
                      <a:pPr algn="ctr" rtl="0" fontAlgn="base"/>
                      <a:r>
                        <a:rPr lang="en-US" sz="1400" cap="none" spc="0">
                          <a:effectLst/>
                        </a:rPr>
                        <a:t>A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R </a:t>
                      </a:r>
                      <a:endParaRPr lang="en-US"/>
                    </a:p>
                  </a:txBody>
                  <a:tcPr marL="191831" marR="115098" marT="115098" marB="115098"/>
                </a:tc>
                <a:tc>
                  <a:txBody>
                    <a:bodyPr/>
                    <a:lstStyle/>
                    <a:p>
                      <a:pPr algn="ctr" rtl="0" fontAlgn="base"/>
                      <a:r>
                        <a:rPr lang="en-US" sz="1400" cap="none" spc="0">
                          <a:effectLst/>
                        </a:rPr>
                        <a:t>C </a:t>
                      </a:r>
                      <a:endParaRPr lang="en-US"/>
                    </a:p>
                  </a:txBody>
                  <a:tcPr marL="191831" marR="115098" marT="115098" marB="115098"/>
                </a:tc>
                <a:extLst>
                  <a:ext uri="{0D108BD9-81ED-4DB2-BD59-A6C34878D82A}">
                    <a16:rowId xmlns:a16="http://schemas.microsoft.com/office/drawing/2014/main" val="396821877"/>
                  </a:ext>
                </a:extLst>
              </a:tr>
            </a:tbl>
          </a:graphicData>
        </a:graphic>
      </p:graphicFrame>
    </p:spTree>
    <p:extLst>
      <p:ext uri="{BB962C8B-B14F-4D97-AF65-F5344CB8AC3E}">
        <p14:creationId xmlns:p14="http://schemas.microsoft.com/office/powerpoint/2010/main" val="34003153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100" name="Rectangle 74">
            <a:extLst>
              <a:ext uri="{FF2B5EF4-FFF2-40B4-BE49-F238E27FC236}">
                <a16:creationId xmlns:a16="http://schemas.microsoft.com/office/drawing/2014/main" id="{69D47016-023F-44BD-981C-50E7A10A66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106BE2-428F-41F0-987C-0D2B813B3982}"/>
              </a:ext>
            </a:extLst>
          </p:cNvPr>
          <p:cNvSpPr>
            <a:spLocks noGrp="1"/>
          </p:cNvSpPr>
          <p:nvPr>
            <p:ph type="title"/>
          </p:nvPr>
        </p:nvSpPr>
        <p:spPr>
          <a:xfrm>
            <a:off x="572878" y="457200"/>
            <a:ext cx="4517572" cy="1929384"/>
          </a:xfrm>
        </p:spPr>
        <p:txBody>
          <a:bodyPr vert="horz" lIns="91440" tIns="45720" rIns="91440" bIns="45720" rtlCol="0" anchor="ctr">
            <a:normAutofit/>
          </a:bodyPr>
          <a:lstStyle/>
          <a:p>
            <a:r>
              <a:rPr lang="en-US" sz="4000" b="1"/>
              <a:t>SEVERITY MATRIX : PROBABILITY SCALE</a:t>
            </a:r>
            <a:endParaRPr lang="en-US" sz="4000" b="1">
              <a:cs typeface="Calibri Light"/>
            </a:endParaRPr>
          </a:p>
        </p:txBody>
      </p:sp>
      <p:sp>
        <p:nvSpPr>
          <p:cNvPr id="77" name="sketchy line">
            <a:extLst>
              <a:ext uri="{FF2B5EF4-FFF2-40B4-BE49-F238E27FC236}">
                <a16:creationId xmlns:a16="http://schemas.microsoft.com/office/drawing/2014/main" id="{6D8B37B0-0682-433E-BC8D-498C04ABD9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471415" y="1412748"/>
            <a:ext cx="1554480" cy="18288"/>
          </a:xfrm>
          <a:custGeom>
            <a:avLst/>
            <a:gdLst>
              <a:gd name="connsiteX0" fmla="*/ 0 w 1554480"/>
              <a:gd name="connsiteY0" fmla="*/ 0 h 18288"/>
              <a:gd name="connsiteX1" fmla="*/ 549250 w 1554480"/>
              <a:gd name="connsiteY1" fmla="*/ 0 h 18288"/>
              <a:gd name="connsiteX2" fmla="*/ 1082954 w 1554480"/>
              <a:gd name="connsiteY2" fmla="*/ 0 h 18288"/>
              <a:gd name="connsiteX3" fmla="*/ 1554480 w 1554480"/>
              <a:gd name="connsiteY3" fmla="*/ 0 h 18288"/>
              <a:gd name="connsiteX4" fmla="*/ 1554480 w 1554480"/>
              <a:gd name="connsiteY4" fmla="*/ 18288 h 18288"/>
              <a:gd name="connsiteX5" fmla="*/ 1067410 w 1554480"/>
              <a:gd name="connsiteY5" fmla="*/ 18288 h 18288"/>
              <a:gd name="connsiteX6" fmla="*/ 549250 w 1554480"/>
              <a:gd name="connsiteY6" fmla="*/ 18288 h 18288"/>
              <a:gd name="connsiteX7" fmla="*/ 0 w 1554480"/>
              <a:gd name="connsiteY7" fmla="*/ 18288 h 18288"/>
              <a:gd name="connsiteX8" fmla="*/ 0 w 1554480"/>
              <a:gd name="connsiteY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480" h="18288" fill="none" extrusionOk="0">
                <a:moveTo>
                  <a:pt x="0" y="0"/>
                </a:moveTo>
                <a:cubicBezTo>
                  <a:pt x="114141" y="-19864"/>
                  <a:pt x="345055" y="-1657"/>
                  <a:pt x="549250" y="0"/>
                </a:cubicBezTo>
                <a:cubicBezTo>
                  <a:pt x="753445" y="1657"/>
                  <a:pt x="862292" y="-5674"/>
                  <a:pt x="1082954" y="0"/>
                </a:cubicBezTo>
                <a:cubicBezTo>
                  <a:pt x="1303616" y="5674"/>
                  <a:pt x="1363530" y="4537"/>
                  <a:pt x="1554480" y="0"/>
                </a:cubicBezTo>
                <a:cubicBezTo>
                  <a:pt x="1554963" y="7176"/>
                  <a:pt x="1553909" y="13682"/>
                  <a:pt x="1554480" y="18288"/>
                </a:cubicBezTo>
                <a:cubicBezTo>
                  <a:pt x="1338847" y="6127"/>
                  <a:pt x="1215066" y="37851"/>
                  <a:pt x="1067410" y="18288"/>
                </a:cubicBezTo>
                <a:cubicBezTo>
                  <a:pt x="919754" y="-1275"/>
                  <a:pt x="800465" y="3080"/>
                  <a:pt x="549250" y="18288"/>
                </a:cubicBezTo>
                <a:cubicBezTo>
                  <a:pt x="298035" y="33496"/>
                  <a:pt x="158868" y="22769"/>
                  <a:pt x="0" y="18288"/>
                </a:cubicBezTo>
                <a:cubicBezTo>
                  <a:pt x="-655" y="13237"/>
                  <a:pt x="709" y="4645"/>
                  <a:pt x="0" y="0"/>
                </a:cubicBezTo>
                <a:close/>
              </a:path>
              <a:path w="1554480" h="18288" stroke="0" extrusionOk="0">
                <a:moveTo>
                  <a:pt x="0" y="0"/>
                </a:moveTo>
                <a:cubicBezTo>
                  <a:pt x="249941" y="-58"/>
                  <a:pt x="367334" y="23448"/>
                  <a:pt x="502615" y="0"/>
                </a:cubicBezTo>
                <a:cubicBezTo>
                  <a:pt x="637897" y="-23448"/>
                  <a:pt x="813653" y="-20418"/>
                  <a:pt x="974141" y="0"/>
                </a:cubicBezTo>
                <a:cubicBezTo>
                  <a:pt x="1134629" y="20418"/>
                  <a:pt x="1268772" y="6288"/>
                  <a:pt x="1554480" y="0"/>
                </a:cubicBezTo>
                <a:cubicBezTo>
                  <a:pt x="1554917" y="7222"/>
                  <a:pt x="1555359" y="13299"/>
                  <a:pt x="1554480" y="18288"/>
                </a:cubicBezTo>
                <a:cubicBezTo>
                  <a:pt x="1336087" y="12172"/>
                  <a:pt x="1310024" y="19759"/>
                  <a:pt x="1067410" y="18288"/>
                </a:cubicBezTo>
                <a:cubicBezTo>
                  <a:pt x="824796" y="16818"/>
                  <a:pt x="787902" y="34647"/>
                  <a:pt x="518160" y="18288"/>
                </a:cubicBezTo>
                <a:cubicBezTo>
                  <a:pt x="248418" y="1930"/>
                  <a:pt x="133160" y="9205"/>
                  <a:pt x="0" y="18288"/>
                </a:cubicBezTo>
                <a:cubicBezTo>
                  <a:pt x="-643" y="9451"/>
                  <a:pt x="-340" y="7114"/>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A3AE77E-83C3-4F9E-BDB1-E73F53D65F6C}"/>
              </a:ext>
            </a:extLst>
          </p:cNvPr>
          <p:cNvSpPr txBox="1"/>
          <p:nvPr/>
        </p:nvSpPr>
        <p:spPr>
          <a:xfrm>
            <a:off x="5541263" y="457200"/>
            <a:ext cx="6007608" cy="1929384"/>
          </a:xfrm>
          <a:prstGeom prst="rect">
            <a:avLst/>
          </a:prstGeom>
        </p:spPr>
        <p:txBody>
          <a:bodyPr vert="horz" lIns="91440" tIns="45720" rIns="91440" bIns="45720" rtlCol="0" anchor="ctr">
            <a:normAutofit/>
          </a:bodyPr>
          <a:lstStyle/>
          <a:p>
            <a:pPr>
              <a:lnSpc>
                <a:spcPct val="90000"/>
              </a:lnSpc>
              <a:spcAft>
                <a:spcPts val="600"/>
              </a:spcAft>
            </a:pPr>
            <a:r>
              <a:rPr lang="en-US" sz="2400">
                <a:effectLst/>
                <a:latin typeface="Calibri Light"/>
                <a:cs typeface="Calibri Light"/>
              </a:rPr>
              <a:t>On the severity matrix, we adopted values of 0.15 and 0.35 for the upper limit for a low severity risk and lower limit for a high severity risk, respectively.</a:t>
            </a:r>
            <a:endParaRPr lang="en-US" sz="2400">
              <a:latin typeface="Calibri Light"/>
              <a:cs typeface="Calibri Light"/>
            </a:endParaRPr>
          </a:p>
        </p:txBody>
      </p:sp>
      <p:pic>
        <p:nvPicPr>
          <p:cNvPr id="4098" name="Picture 2">
            <a:extLst>
              <a:ext uri="{FF2B5EF4-FFF2-40B4-BE49-F238E27FC236}">
                <a16:creationId xmlns:a16="http://schemas.microsoft.com/office/drawing/2014/main" id="{0F818F7F-73BC-4115-BD7D-29E45D3C51E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66344" y="2773384"/>
            <a:ext cx="5424570" cy="325658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Table 3">
            <a:extLst>
              <a:ext uri="{FF2B5EF4-FFF2-40B4-BE49-F238E27FC236}">
                <a16:creationId xmlns:a16="http://schemas.microsoft.com/office/drawing/2014/main" id="{306FB906-0C1A-4B67-8918-8C73197905C7}"/>
              </a:ext>
            </a:extLst>
          </p:cNvPr>
          <p:cNvGraphicFramePr>
            <a:graphicFrameLocks noGrp="1"/>
          </p:cNvGraphicFramePr>
          <p:nvPr>
            <p:extLst>
              <p:ext uri="{D42A27DB-BD31-4B8C-83A1-F6EECF244321}">
                <p14:modId xmlns:p14="http://schemas.microsoft.com/office/powerpoint/2010/main" val="3954604210"/>
              </p:ext>
            </p:extLst>
          </p:nvPr>
        </p:nvGraphicFramePr>
        <p:xfrm>
          <a:off x="6254496" y="2776251"/>
          <a:ext cx="5468113" cy="3265368"/>
        </p:xfrm>
        <a:graphic>
          <a:graphicData uri="http://schemas.openxmlformats.org/drawingml/2006/table">
            <a:tbl>
              <a:tblPr firstRow="1" bandRow="1"/>
              <a:tblGrid>
                <a:gridCol w="2568742">
                  <a:extLst>
                    <a:ext uri="{9D8B030D-6E8A-4147-A177-3AD203B41FA5}">
                      <a16:colId xmlns:a16="http://schemas.microsoft.com/office/drawing/2014/main" val="3602328197"/>
                    </a:ext>
                  </a:extLst>
                </a:gridCol>
                <a:gridCol w="2899371">
                  <a:extLst>
                    <a:ext uri="{9D8B030D-6E8A-4147-A177-3AD203B41FA5}">
                      <a16:colId xmlns:a16="http://schemas.microsoft.com/office/drawing/2014/main" val="1773991922"/>
                    </a:ext>
                  </a:extLst>
                </a:gridCol>
              </a:tblGrid>
              <a:tr h="544228">
                <a:tc>
                  <a:txBody>
                    <a:bodyPr/>
                    <a:lstStyle/>
                    <a:p>
                      <a:pPr lvl="1" algn="l" rtl="0" fontAlgn="base"/>
                      <a:r>
                        <a:rPr lang="en-US" sz="2200" b="1" i="0">
                          <a:solidFill>
                            <a:srgbClr val="000000"/>
                          </a:solidFill>
                          <a:effectLst/>
                          <a:latin typeface="Calibri Light"/>
                        </a:rPr>
                        <a:t>Level names</a:t>
                      </a:r>
                      <a:r>
                        <a:rPr lang="en-US" sz="2200" b="0" i="0">
                          <a:solidFill>
                            <a:srgbClr val="000000"/>
                          </a:solidFill>
                          <a:effectLst/>
                          <a:latin typeface="Calibri Light"/>
                        </a:rPr>
                        <a:t> </a:t>
                      </a:r>
                      <a:endParaRPr lang="en-US" sz="3200" b="0" i="0">
                        <a:effectLst/>
                        <a:latin typeface="Calibri Light"/>
                      </a:endParaRPr>
                    </a:p>
                  </a:txBody>
                  <a:tcPr marL="164611" marR="164611" marT="82305" marB="82305" anchor="b">
                    <a:lnL w="6350" cap="flat" cmpd="sng" algn="ctr">
                      <a:solidFill>
                        <a:srgbClr val="B86600"/>
                      </a:solidFill>
                      <a:prstDash val="solid"/>
                      <a:round/>
                      <a:headEnd type="none" w="med" len="med"/>
                      <a:tailEnd type="none" w="med" len="med"/>
                    </a:lnL>
                    <a:lnR w="6350" cap="flat" cmpd="sng" algn="ctr">
                      <a:solidFill>
                        <a:srgbClr val="B86600"/>
                      </a:solidFill>
                      <a:prstDash val="solid"/>
                      <a:round/>
                      <a:headEnd type="none" w="med" len="med"/>
                      <a:tailEnd type="none" w="med" len="med"/>
                    </a:lnR>
                    <a:lnT w="6350" cap="flat" cmpd="sng" algn="ctr">
                      <a:solidFill>
                        <a:srgbClr val="B86600"/>
                      </a:solidFill>
                      <a:prstDash val="solid"/>
                      <a:round/>
                      <a:headEnd type="none" w="med" len="med"/>
                      <a:tailEnd type="none" w="med" len="med"/>
                    </a:lnT>
                    <a:lnB w="6350" cap="flat" cmpd="sng" algn="ctr">
                      <a:solidFill>
                        <a:srgbClr val="F06400"/>
                      </a:solidFill>
                      <a:prstDash val="dot"/>
                      <a:round/>
                      <a:headEnd type="none" w="med" len="med"/>
                      <a:tailEnd type="none" w="med" len="med"/>
                    </a:lnB>
                  </a:tcPr>
                </a:tc>
                <a:tc>
                  <a:txBody>
                    <a:bodyPr/>
                    <a:lstStyle/>
                    <a:p>
                      <a:pPr lvl="1" algn="l" rtl="0" fontAlgn="base"/>
                      <a:r>
                        <a:rPr lang="en-US" sz="2200" b="1" i="0">
                          <a:solidFill>
                            <a:srgbClr val="000000"/>
                          </a:solidFill>
                          <a:effectLst/>
                          <a:latin typeface="Calibri Light"/>
                        </a:rPr>
                        <a:t>Level Values (%)</a:t>
                      </a:r>
                      <a:r>
                        <a:rPr lang="en-US" sz="2200" b="0" i="0">
                          <a:solidFill>
                            <a:srgbClr val="000000"/>
                          </a:solidFill>
                          <a:effectLst/>
                          <a:latin typeface="Calibri Light"/>
                        </a:rPr>
                        <a:t> </a:t>
                      </a:r>
                      <a:endParaRPr lang="en-US" sz="3200" b="0" i="0">
                        <a:effectLst/>
                        <a:latin typeface="Calibri Light"/>
                      </a:endParaRPr>
                    </a:p>
                  </a:txBody>
                  <a:tcPr marL="164611" marR="164611" marT="82305" marB="82305" anchor="b">
                    <a:lnL w="6350" cap="flat" cmpd="sng" algn="ctr">
                      <a:solidFill>
                        <a:srgbClr val="B86600"/>
                      </a:solidFill>
                      <a:prstDash val="solid"/>
                      <a:round/>
                      <a:headEnd type="none" w="med" len="med"/>
                      <a:tailEnd type="none" w="med" len="med"/>
                    </a:lnL>
                    <a:lnR w="6350" cap="flat" cmpd="sng" algn="ctr">
                      <a:solidFill>
                        <a:srgbClr val="F06400"/>
                      </a:solidFill>
                      <a:prstDash val="solid"/>
                      <a:round/>
                      <a:headEnd type="none" w="med" len="med"/>
                      <a:tailEnd type="none" w="med" len="med"/>
                    </a:lnR>
                    <a:lnT w="6350" cap="flat" cmpd="sng" algn="ctr">
                      <a:solidFill>
                        <a:srgbClr val="F06400"/>
                      </a:solidFill>
                      <a:prstDash val="solid"/>
                      <a:round/>
                      <a:headEnd type="none" w="med" len="med"/>
                      <a:tailEnd type="none" w="med" len="med"/>
                    </a:lnT>
                    <a:lnB w="6350" cap="flat" cmpd="sng" algn="ctr">
                      <a:solidFill>
                        <a:srgbClr val="F06400"/>
                      </a:solidFill>
                      <a:prstDash val="dot"/>
                      <a:round/>
                      <a:headEnd type="none" w="med" len="med"/>
                      <a:tailEnd type="none" w="med" len="med"/>
                    </a:lnB>
                  </a:tcPr>
                </a:tc>
                <a:extLst>
                  <a:ext uri="{0D108BD9-81ED-4DB2-BD59-A6C34878D82A}">
                    <a16:rowId xmlns:a16="http://schemas.microsoft.com/office/drawing/2014/main" val="3275562098"/>
                  </a:ext>
                </a:extLst>
              </a:tr>
              <a:tr h="544228">
                <a:tc>
                  <a:txBody>
                    <a:bodyPr/>
                    <a:lstStyle/>
                    <a:p>
                      <a:pPr lvl="1" algn="l" rtl="0" fontAlgn="base"/>
                      <a:r>
                        <a:rPr lang="en-US" sz="2200" b="0" i="0">
                          <a:solidFill>
                            <a:srgbClr val="000000"/>
                          </a:solidFill>
                          <a:effectLst/>
                          <a:latin typeface="Calibri Light"/>
                        </a:rPr>
                        <a:t>Very low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FFFFCC"/>
                    </a:solidFill>
                  </a:tcPr>
                </a:tc>
                <a:tc>
                  <a:txBody>
                    <a:bodyPr/>
                    <a:lstStyle/>
                    <a:p>
                      <a:pPr lvl="1" algn="l" rtl="0" fontAlgn="base"/>
                      <a:r>
                        <a:rPr lang="en-US" sz="2200" b="0" i="0">
                          <a:solidFill>
                            <a:srgbClr val="000000"/>
                          </a:solidFill>
                          <a:effectLst/>
                          <a:latin typeface="Calibri Light"/>
                        </a:rPr>
                        <a:t>5%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E2EFDA"/>
                    </a:solidFill>
                  </a:tcPr>
                </a:tc>
                <a:extLst>
                  <a:ext uri="{0D108BD9-81ED-4DB2-BD59-A6C34878D82A}">
                    <a16:rowId xmlns:a16="http://schemas.microsoft.com/office/drawing/2014/main" val="1726270170"/>
                  </a:ext>
                </a:extLst>
              </a:tr>
              <a:tr h="544228">
                <a:tc>
                  <a:txBody>
                    <a:bodyPr/>
                    <a:lstStyle/>
                    <a:p>
                      <a:pPr lvl="1" algn="l" rtl="0" fontAlgn="base"/>
                      <a:r>
                        <a:rPr lang="en-US" sz="2200" b="0" i="0">
                          <a:solidFill>
                            <a:srgbClr val="000000"/>
                          </a:solidFill>
                          <a:effectLst/>
                          <a:latin typeface="Calibri Light"/>
                        </a:rPr>
                        <a:t>Low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FFFFCC"/>
                    </a:solidFill>
                  </a:tcPr>
                </a:tc>
                <a:tc>
                  <a:txBody>
                    <a:bodyPr/>
                    <a:lstStyle/>
                    <a:p>
                      <a:pPr lvl="1" algn="l" rtl="0" fontAlgn="base"/>
                      <a:r>
                        <a:rPr lang="en-US" sz="2200" b="0" i="0">
                          <a:solidFill>
                            <a:srgbClr val="000000"/>
                          </a:solidFill>
                          <a:effectLst/>
                          <a:latin typeface="Calibri Light"/>
                        </a:rPr>
                        <a:t>10%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E2EFDA"/>
                    </a:solidFill>
                  </a:tcPr>
                </a:tc>
                <a:extLst>
                  <a:ext uri="{0D108BD9-81ED-4DB2-BD59-A6C34878D82A}">
                    <a16:rowId xmlns:a16="http://schemas.microsoft.com/office/drawing/2014/main" val="2251691662"/>
                  </a:ext>
                </a:extLst>
              </a:tr>
              <a:tr h="544228">
                <a:tc>
                  <a:txBody>
                    <a:bodyPr/>
                    <a:lstStyle/>
                    <a:p>
                      <a:pPr lvl="1" algn="l" rtl="0" fontAlgn="base"/>
                      <a:r>
                        <a:rPr lang="en-US" sz="2200" b="0" i="0">
                          <a:solidFill>
                            <a:srgbClr val="000000"/>
                          </a:solidFill>
                          <a:effectLst/>
                          <a:latin typeface="Calibri Light"/>
                        </a:rPr>
                        <a:t>Medium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FFFFCC"/>
                    </a:solidFill>
                  </a:tcPr>
                </a:tc>
                <a:tc>
                  <a:txBody>
                    <a:bodyPr/>
                    <a:lstStyle/>
                    <a:p>
                      <a:pPr lvl="1" algn="l" rtl="0" fontAlgn="base"/>
                      <a:r>
                        <a:rPr lang="en-US" sz="2200" b="0" i="0">
                          <a:solidFill>
                            <a:srgbClr val="000000"/>
                          </a:solidFill>
                          <a:effectLst/>
                          <a:latin typeface="Calibri Light"/>
                        </a:rPr>
                        <a:t>40%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E2EFDA"/>
                    </a:solidFill>
                  </a:tcPr>
                </a:tc>
                <a:extLst>
                  <a:ext uri="{0D108BD9-81ED-4DB2-BD59-A6C34878D82A}">
                    <a16:rowId xmlns:a16="http://schemas.microsoft.com/office/drawing/2014/main" val="3118568378"/>
                  </a:ext>
                </a:extLst>
              </a:tr>
              <a:tr h="544228">
                <a:tc>
                  <a:txBody>
                    <a:bodyPr/>
                    <a:lstStyle/>
                    <a:p>
                      <a:pPr lvl="1" algn="l" rtl="0" fontAlgn="base"/>
                      <a:r>
                        <a:rPr lang="en-US" sz="2200" b="0" i="0">
                          <a:solidFill>
                            <a:srgbClr val="000000"/>
                          </a:solidFill>
                          <a:effectLst/>
                          <a:latin typeface="Calibri Light"/>
                        </a:rPr>
                        <a:t>High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FFFFCC"/>
                    </a:solidFill>
                  </a:tcPr>
                </a:tc>
                <a:tc>
                  <a:txBody>
                    <a:bodyPr/>
                    <a:lstStyle/>
                    <a:p>
                      <a:pPr lvl="1" algn="l" rtl="0" fontAlgn="base"/>
                      <a:r>
                        <a:rPr lang="en-US" sz="2200" b="0" i="0">
                          <a:solidFill>
                            <a:srgbClr val="000000"/>
                          </a:solidFill>
                          <a:effectLst/>
                          <a:latin typeface="Calibri Light"/>
                        </a:rPr>
                        <a:t>50%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E2EFDA"/>
                    </a:solidFill>
                  </a:tcPr>
                </a:tc>
                <a:extLst>
                  <a:ext uri="{0D108BD9-81ED-4DB2-BD59-A6C34878D82A}">
                    <a16:rowId xmlns:a16="http://schemas.microsoft.com/office/drawing/2014/main" val="1255135935"/>
                  </a:ext>
                </a:extLst>
              </a:tr>
              <a:tr h="544228">
                <a:tc>
                  <a:txBody>
                    <a:bodyPr/>
                    <a:lstStyle/>
                    <a:p>
                      <a:pPr lvl="1" algn="l" rtl="0" fontAlgn="base"/>
                      <a:r>
                        <a:rPr lang="en-US" sz="2200" b="0" i="0">
                          <a:solidFill>
                            <a:srgbClr val="000000"/>
                          </a:solidFill>
                          <a:effectLst/>
                          <a:latin typeface="Calibri Light"/>
                        </a:rPr>
                        <a:t>Very High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FFFFCC"/>
                    </a:solidFill>
                  </a:tcPr>
                </a:tc>
                <a:tc>
                  <a:txBody>
                    <a:bodyPr/>
                    <a:lstStyle/>
                    <a:p>
                      <a:pPr lvl="1" algn="l" rtl="0" fontAlgn="base"/>
                      <a:r>
                        <a:rPr lang="en-US" sz="2200" b="0" i="0">
                          <a:solidFill>
                            <a:srgbClr val="000000"/>
                          </a:solidFill>
                          <a:effectLst/>
                          <a:latin typeface="Calibri Light"/>
                        </a:rPr>
                        <a:t>70% </a:t>
                      </a:r>
                      <a:endParaRPr lang="en-US" sz="3200" b="0" i="0">
                        <a:effectLst/>
                        <a:latin typeface="Calibri Light"/>
                      </a:endParaRPr>
                    </a:p>
                  </a:txBody>
                  <a:tcPr marL="164611" marR="164611" marT="82305" marB="82305" anchor="b">
                    <a:lnL w="6350" cap="flat" cmpd="sng" algn="ctr">
                      <a:solidFill>
                        <a:srgbClr val="F06400"/>
                      </a:solidFill>
                      <a:prstDash val="dot"/>
                      <a:round/>
                      <a:headEnd type="none" w="med" len="med"/>
                      <a:tailEnd type="none" w="med" len="med"/>
                    </a:lnL>
                    <a:lnR w="6350" cap="flat" cmpd="sng" algn="ctr">
                      <a:solidFill>
                        <a:srgbClr val="F06400"/>
                      </a:solidFill>
                      <a:prstDash val="dot"/>
                      <a:round/>
                      <a:headEnd type="none" w="med" len="med"/>
                      <a:tailEnd type="none" w="med" len="med"/>
                    </a:lnR>
                    <a:lnT w="6350" cap="flat" cmpd="sng" algn="ctr">
                      <a:solidFill>
                        <a:srgbClr val="F06400"/>
                      </a:solidFill>
                      <a:prstDash val="dot"/>
                      <a:round/>
                      <a:headEnd type="none" w="med" len="med"/>
                      <a:tailEnd type="none" w="med" len="med"/>
                    </a:lnT>
                    <a:lnB w="6350" cap="flat" cmpd="sng" algn="ctr">
                      <a:solidFill>
                        <a:srgbClr val="F06400"/>
                      </a:solidFill>
                      <a:prstDash val="dot"/>
                      <a:round/>
                      <a:headEnd type="none" w="med" len="med"/>
                      <a:tailEnd type="none" w="med" len="med"/>
                    </a:lnB>
                    <a:solidFill>
                      <a:srgbClr val="E2EFDA"/>
                    </a:solidFill>
                  </a:tcPr>
                </a:tc>
                <a:extLst>
                  <a:ext uri="{0D108BD9-81ED-4DB2-BD59-A6C34878D82A}">
                    <a16:rowId xmlns:a16="http://schemas.microsoft.com/office/drawing/2014/main" val="659573460"/>
                  </a:ext>
                </a:extLst>
              </a:tr>
            </a:tbl>
          </a:graphicData>
        </a:graphic>
      </p:graphicFrame>
    </p:spTree>
    <p:extLst>
      <p:ext uri="{BB962C8B-B14F-4D97-AF65-F5344CB8AC3E}">
        <p14:creationId xmlns:p14="http://schemas.microsoft.com/office/powerpoint/2010/main" val="38811492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FFB60E8C-7224-44A4-87A0-46A1711DD2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20A225-27D5-462E-862C-8B9308A193DB}"/>
              </a:ext>
            </a:extLst>
          </p:cNvPr>
          <p:cNvSpPr>
            <a:spLocks noGrp="1"/>
          </p:cNvSpPr>
          <p:nvPr>
            <p:ph type="title"/>
          </p:nvPr>
        </p:nvSpPr>
        <p:spPr>
          <a:xfrm>
            <a:off x="795528" y="386930"/>
            <a:ext cx="10141799" cy="1068326"/>
          </a:xfrm>
        </p:spPr>
        <p:txBody>
          <a:bodyPr anchor="b">
            <a:normAutofit/>
          </a:bodyPr>
          <a:lstStyle/>
          <a:p>
            <a:pPr algn="ctr"/>
            <a:r>
              <a:rPr lang="en-US" sz="4000" b="1"/>
              <a:t>RISK SEVERITY ANALYSIS </a:t>
            </a:r>
            <a:endParaRPr lang="en-US" sz="4000" b="1">
              <a:cs typeface="Calibri Light"/>
            </a:endParaRPr>
          </a:p>
        </p:txBody>
      </p:sp>
      <p:sp>
        <p:nvSpPr>
          <p:cNvPr id="31" name="Rectangle 30">
            <a:extLst>
              <a:ext uri="{FF2B5EF4-FFF2-40B4-BE49-F238E27FC236}">
                <a16:creationId xmlns:a16="http://schemas.microsoft.com/office/drawing/2014/main" id="{5DA32751-37A2-45C0-BE94-63D375E270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2" y="1998845"/>
            <a:ext cx="11454595" cy="7816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E659831F-0D9A-4C63-9EBB-8435B85A44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3079"/>
            <a:ext cx="11383362" cy="426799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Content Placeholder 8">
            <a:extLst>
              <a:ext uri="{FF2B5EF4-FFF2-40B4-BE49-F238E27FC236}">
                <a16:creationId xmlns:a16="http://schemas.microsoft.com/office/drawing/2014/main" id="{FC5B3E5F-D10C-4524-A5FA-EDAB72CCC89C}"/>
              </a:ext>
            </a:extLst>
          </p:cNvPr>
          <p:cNvSpPr>
            <a:spLocks noGrp="1"/>
          </p:cNvSpPr>
          <p:nvPr>
            <p:ph idx="1"/>
          </p:nvPr>
        </p:nvSpPr>
        <p:spPr>
          <a:xfrm>
            <a:off x="7204715" y="2584995"/>
            <a:ext cx="3935812" cy="3639450"/>
          </a:xfrm>
        </p:spPr>
        <p:txBody>
          <a:bodyPr vert="horz" lIns="91440" tIns="45720" rIns="91440" bIns="45720" rtlCol="0" anchor="ctr">
            <a:normAutofit/>
          </a:bodyPr>
          <a:lstStyle/>
          <a:p>
            <a:pPr marL="0" indent="0" algn="just">
              <a:buNone/>
            </a:pPr>
            <a:r>
              <a:rPr lang="en-US" sz="2000">
                <a:effectLst/>
                <a:latin typeface="Times New Roman"/>
                <a:cs typeface="Times New Roman"/>
              </a:rPr>
              <a:t>A</a:t>
            </a:r>
            <a:r>
              <a:rPr lang="en-US" sz="2000">
                <a:effectLst/>
                <a:latin typeface="Calibri Light"/>
                <a:cs typeface="Times New Roman"/>
              </a:rPr>
              <a:t>s we stated under the severity matrix, we set our upper limit for a low severity risk and lower limit for a high severity risk at 0.15 and 0.35, respectively. The risk scoring model ranked the risks as either low, medium, or high. </a:t>
            </a:r>
            <a:endParaRPr lang="en-US" sz="2000">
              <a:cs typeface="Calibri" panose="020F0502020204030204"/>
            </a:endParaRPr>
          </a:p>
        </p:txBody>
      </p:sp>
      <p:sp>
        <p:nvSpPr>
          <p:cNvPr id="35" name="Rectangle 34">
            <a:extLst>
              <a:ext uri="{FF2B5EF4-FFF2-40B4-BE49-F238E27FC236}">
                <a16:creationId xmlns:a16="http://schemas.microsoft.com/office/drawing/2014/main" id="{5A55FBCD-CD42-40F5-8A1B-3203F9CAEE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Content Placeholder 3">
            <a:extLst>
              <a:ext uri="{FF2B5EF4-FFF2-40B4-BE49-F238E27FC236}">
                <a16:creationId xmlns:a16="http://schemas.microsoft.com/office/drawing/2014/main" id="{6AF379B8-064C-4ECB-A635-456A45E567D1}"/>
              </a:ext>
            </a:extLst>
          </p:cNvPr>
          <p:cNvGraphicFramePr>
            <a:graphicFrameLocks/>
          </p:cNvGraphicFramePr>
          <p:nvPr>
            <p:extLst>
              <p:ext uri="{D42A27DB-BD31-4B8C-83A1-F6EECF244321}">
                <p14:modId xmlns:p14="http://schemas.microsoft.com/office/powerpoint/2010/main" val="1248171967"/>
              </p:ext>
            </p:extLst>
          </p:nvPr>
        </p:nvGraphicFramePr>
        <p:xfrm>
          <a:off x="638628" y="2387600"/>
          <a:ext cx="6481741" cy="3933363"/>
        </p:xfrm>
        <a:graphic>
          <a:graphicData uri="http://schemas.openxmlformats.org/drawingml/2006/table">
            <a:tbl>
              <a:tblPr firstRow="1" bandRow="1"/>
              <a:tblGrid>
                <a:gridCol w="686053">
                  <a:extLst>
                    <a:ext uri="{9D8B030D-6E8A-4147-A177-3AD203B41FA5}">
                      <a16:colId xmlns:a16="http://schemas.microsoft.com/office/drawing/2014/main" val="2391804108"/>
                    </a:ext>
                  </a:extLst>
                </a:gridCol>
                <a:gridCol w="1957751">
                  <a:extLst>
                    <a:ext uri="{9D8B030D-6E8A-4147-A177-3AD203B41FA5}">
                      <a16:colId xmlns:a16="http://schemas.microsoft.com/office/drawing/2014/main" val="1049645629"/>
                    </a:ext>
                  </a:extLst>
                </a:gridCol>
                <a:gridCol w="1132603">
                  <a:extLst>
                    <a:ext uri="{9D8B030D-6E8A-4147-A177-3AD203B41FA5}">
                      <a16:colId xmlns:a16="http://schemas.microsoft.com/office/drawing/2014/main" val="3541173718"/>
                    </a:ext>
                  </a:extLst>
                </a:gridCol>
                <a:gridCol w="831668">
                  <a:extLst>
                    <a:ext uri="{9D8B030D-6E8A-4147-A177-3AD203B41FA5}">
                      <a16:colId xmlns:a16="http://schemas.microsoft.com/office/drawing/2014/main" val="2080081738"/>
                    </a:ext>
                  </a:extLst>
                </a:gridCol>
                <a:gridCol w="906092">
                  <a:extLst>
                    <a:ext uri="{9D8B030D-6E8A-4147-A177-3AD203B41FA5}">
                      <a16:colId xmlns:a16="http://schemas.microsoft.com/office/drawing/2014/main" val="19564522"/>
                    </a:ext>
                  </a:extLst>
                </a:gridCol>
                <a:gridCol w="967574">
                  <a:extLst>
                    <a:ext uri="{9D8B030D-6E8A-4147-A177-3AD203B41FA5}">
                      <a16:colId xmlns:a16="http://schemas.microsoft.com/office/drawing/2014/main" val="3894553717"/>
                    </a:ext>
                  </a:extLst>
                </a:gridCol>
              </a:tblGrid>
              <a:tr h="545912">
                <a:tc>
                  <a:txBody>
                    <a:bodyPr/>
                    <a:lstStyle/>
                    <a:p>
                      <a:pPr algn="ctr" rtl="0" fontAlgn="base"/>
                      <a:r>
                        <a:rPr lang="en-US" sz="1100" b="1" i="0">
                          <a:solidFill>
                            <a:srgbClr val="000000"/>
                          </a:solidFill>
                          <a:effectLst/>
                          <a:latin typeface="Calibri Light"/>
                        </a:rPr>
                        <a:t># Risk</a:t>
                      </a:r>
                      <a:r>
                        <a:rPr lang="en-US" sz="1100" b="0" i="0">
                          <a:solidFill>
                            <a:srgbClr val="000000"/>
                          </a:solidFill>
                          <a:effectLst/>
                          <a:latin typeface="Calibri Light"/>
                        </a:rPr>
                        <a:t> </a:t>
                      </a:r>
                      <a:endParaRPr lang="en-US" sz="1900" b="0" i="0">
                        <a:effectLst/>
                        <a:latin typeface="Calibri Light"/>
                      </a:endParaRPr>
                    </a:p>
                  </a:txBody>
                  <a:tcPr marL="81525" marR="81525" marT="40763" marB="40763">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6350" cap="flat" cmpd="sng" algn="ctr">
                      <a:solidFill>
                        <a:srgbClr val="C0BA3A"/>
                      </a:solidFill>
                      <a:prstDash val="solid"/>
                      <a:round/>
                      <a:headEnd type="none" w="med" len="med"/>
                      <a:tailEnd type="none" w="med" len="med"/>
                    </a:lnT>
                    <a:lnB w="19050" cap="flat" cmpd="dbl" algn="ctr">
                      <a:solidFill>
                        <a:srgbClr val="C0BA3A"/>
                      </a:solidFill>
                      <a:prstDash val="solid"/>
                      <a:round/>
                      <a:headEnd type="none" w="med" len="med"/>
                      <a:tailEnd type="none" w="med" len="med"/>
                    </a:lnB>
                    <a:solidFill>
                      <a:srgbClr val="E2EFDA"/>
                    </a:solidFill>
                  </a:tcPr>
                </a:tc>
                <a:tc>
                  <a:txBody>
                    <a:bodyPr/>
                    <a:lstStyle/>
                    <a:p>
                      <a:pPr algn="ctr" rtl="0" fontAlgn="base"/>
                      <a:r>
                        <a:rPr lang="en-US" sz="1100" b="1" i="0">
                          <a:solidFill>
                            <a:srgbClr val="000000"/>
                          </a:solidFill>
                          <a:effectLst/>
                          <a:latin typeface="Calibri Light"/>
                        </a:rPr>
                        <a:t>Cause</a:t>
                      </a:r>
                      <a:r>
                        <a:rPr lang="en-US" sz="1100" b="0" i="0">
                          <a:solidFill>
                            <a:srgbClr val="000000"/>
                          </a:solidFill>
                          <a:effectLst/>
                          <a:latin typeface="Calibri Light"/>
                        </a:rPr>
                        <a:t> </a:t>
                      </a:r>
                      <a:endParaRPr lang="en-US" sz="1900" b="0" i="0">
                        <a:effectLst/>
                        <a:latin typeface="Calibri Light"/>
                      </a:endParaRPr>
                    </a:p>
                  </a:txBody>
                  <a:tcPr marL="81525" marR="81525" marT="40763" marB="40763" anchor="ctr">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6350" cap="flat" cmpd="sng" algn="ctr">
                      <a:solidFill>
                        <a:srgbClr val="C0BA3A"/>
                      </a:solidFill>
                      <a:prstDash val="solid"/>
                      <a:round/>
                      <a:headEnd type="none" w="med" len="med"/>
                      <a:tailEnd type="none" w="med" len="med"/>
                    </a:lnT>
                    <a:lnB w="19050" cap="flat" cmpd="dbl" algn="ctr">
                      <a:solidFill>
                        <a:srgbClr val="C0BA3A"/>
                      </a:solidFill>
                      <a:prstDash val="solid"/>
                      <a:round/>
                      <a:headEnd type="none" w="med" len="med"/>
                      <a:tailEnd type="none" w="med" len="med"/>
                    </a:lnB>
                    <a:solidFill>
                      <a:srgbClr val="E2EFDA"/>
                    </a:solidFill>
                  </a:tcPr>
                </a:tc>
                <a:tc>
                  <a:txBody>
                    <a:bodyPr/>
                    <a:lstStyle/>
                    <a:p>
                      <a:pPr algn="ctr" rtl="0" fontAlgn="base"/>
                      <a:r>
                        <a:rPr lang="en-US" sz="1100" b="1" i="0">
                          <a:solidFill>
                            <a:srgbClr val="000000"/>
                          </a:solidFill>
                          <a:effectLst/>
                          <a:latin typeface="Calibri Light"/>
                        </a:rPr>
                        <a:t>Probability score</a:t>
                      </a:r>
                      <a:r>
                        <a:rPr lang="en-US" sz="1100" b="0" i="0">
                          <a:solidFill>
                            <a:srgbClr val="000000"/>
                          </a:solidFill>
                          <a:effectLst/>
                          <a:latin typeface="Calibri Light"/>
                        </a:rPr>
                        <a:t> </a:t>
                      </a:r>
                      <a:endParaRPr lang="en-US" sz="1900" b="0" i="0">
                        <a:effectLst/>
                        <a:latin typeface="Calibri Light"/>
                      </a:endParaRPr>
                    </a:p>
                  </a:txBody>
                  <a:tcPr marL="81525" marR="81525" marT="40763" marB="40763" anchor="ctr">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6350" cap="flat" cmpd="sng" algn="ctr">
                      <a:solidFill>
                        <a:srgbClr val="C0BA3A"/>
                      </a:solidFill>
                      <a:prstDash val="solid"/>
                      <a:round/>
                      <a:headEnd type="none" w="med" len="med"/>
                      <a:tailEnd type="none" w="med" len="med"/>
                    </a:lnT>
                    <a:lnB w="19050" cap="flat" cmpd="dbl" algn="ctr">
                      <a:solidFill>
                        <a:srgbClr val="C0BA3A"/>
                      </a:solidFill>
                      <a:prstDash val="solid"/>
                      <a:round/>
                      <a:headEnd type="none" w="med" len="med"/>
                      <a:tailEnd type="none" w="med" len="med"/>
                    </a:lnB>
                    <a:solidFill>
                      <a:srgbClr val="E2EFDA"/>
                    </a:solidFill>
                  </a:tcPr>
                </a:tc>
                <a:tc>
                  <a:txBody>
                    <a:bodyPr/>
                    <a:lstStyle/>
                    <a:p>
                      <a:pPr algn="ctr" rtl="0" fontAlgn="base"/>
                      <a:r>
                        <a:rPr lang="en-US" sz="1100" b="1" i="0">
                          <a:solidFill>
                            <a:srgbClr val="000000"/>
                          </a:solidFill>
                          <a:effectLst/>
                          <a:latin typeface="Calibri Light"/>
                        </a:rPr>
                        <a:t>Impact score</a:t>
                      </a:r>
                      <a:r>
                        <a:rPr lang="en-US" sz="1100" b="0" i="0">
                          <a:solidFill>
                            <a:srgbClr val="000000"/>
                          </a:solidFill>
                          <a:effectLst/>
                          <a:latin typeface="Calibri Light"/>
                        </a:rPr>
                        <a:t> </a:t>
                      </a:r>
                      <a:endParaRPr lang="en-US" sz="1900" b="0" i="0">
                        <a:effectLst/>
                        <a:latin typeface="Calibri Light"/>
                      </a:endParaRPr>
                    </a:p>
                  </a:txBody>
                  <a:tcPr marL="81525" marR="81525" marT="40763" marB="40763" anchor="ctr">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6350" cap="flat" cmpd="sng" algn="ctr">
                      <a:solidFill>
                        <a:srgbClr val="C0BA3A"/>
                      </a:solidFill>
                      <a:prstDash val="solid"/>
                      <a:round/>
                      <a:headEnd type="none" w="med" len="med"/>
                      <a:tailEnd type="none" w="med" len="med"/>
                    </a:lnT>
                    <a:lnB w="19050" cap="flat" cmpd="dbl" algn="ctr">
                      <a:solidFill>
                        <a:srgbClr val="C0BA3A"/>
                      </a:solidFill>
                      <a:prstDash val="solid"/>
                      <a:round/>
                      <a:headEnd type="none" w="med" len="med"/>
                      <a:tailEnd type="none" w="med" len="med"/>
                    </a:lnB>
                    <a:solidFill>
                      <a:srgbClr val="E2EFDA"/>
                    </a:solidFill>
                  </a:tcPr>
                </a:tc>
                <a:tc>
                  <a:txBody>
                    <a:bodyPr/>
                    <a:lstStyle/>
                    <a:p>
                      <a:pPr algn="ctr" rtl="0" fontAlgn="base"/>
                      <a:r>
                        <a:rPr lang="en-US" sz="1100" b="1" i="0">
                          <a:solidFill>
                            <a:srgbClr val="000000"/>
                          </a:solidFill>
                          <a:effectLst/>
                          <a:latin typeface="Calibri Light"/>
                        </a:rPr>
                        <a:t>Severity Score</a:t>
                      </a:r>
                      <a:r>
                        <a:rPr lang="en-US" sz="1100" b="0" i="0">
                          <a:solidFill>
                            <a:srgbClr val="000000"/>
                          </a:solidFill>
                          <a:effectLst/>
                          <a:latin typeface="Calibri Light"/>
                        </a:rPr>
                        <a:t> </a:t>
                      </a:r>
                      <a:endParaRPr lang="en-US" sz="1900" b="0" i="0">
                        <a:effectLst/>
                        <a:latin typeface="Calibri Light"/>
                      </a:endParaRPr>
                    </a:p>
                  </a:txBody>
                  <a:tcPr marL="81525" marR="81525" marT="40763" marB="40763" anchor="ctr">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6350" cap="flat" cmpd="sng" algn="ctr">
                      <a:solidFill>
                        <a:srgbClr val="C0BA3A"/>
                      </a:solidFill>
                      <a:prstDash val="solid"/>
                      <a:round/>
                      <a:headEnd type="none" w="med" len="med"/>
                      <a:tailEnd type="none" w="med" len="med"/>
                    </a:lnT>
                    <a:lnB w="19050" cap="flat" cmpd="dbl" algn="ctr">
                      <a:solidFill>
                        <a:srgbClr val="C0BA3A"/>
                      </a:solidFill>
                      <a:prstDash val="solid"/>
                      <a:round/>
                      <a:headEnd type="none" w="med" len="med"/>
                      <a:tailEnd type="none" w="med" len="med"/>
                    </a:lnB>
                    <a:solidFill>
                      <a:srgbClr val="E2EFDA"/>
                    </a:solidFill>
                  </a:tcPr>
                </a:tc>
                <a:tc>
                  <a:txBody>
                    <a:bodyPr/>
                    <a:lstStyle/>
                    <a:p>
                      <a:pPr algn="ctr" rtl="0" fontAlgn="base"/>
                      <a:r>
                        <a:rPr lang="en-US" sz="1100" b="1" i="0">
                          <a:solidFill>
                            <a:srgbClr val="000000"/>
                          </a:solidFill>
                          <a:effectLst/>
                          <a:latin typeface="Calibri Light"/>
                        </a:rPr>
                        <a:t>Severity</a:t>
                      </a:r>
                      <a:r>
                        <a:rPr lang="en-US" sz="1100" b="0" i="0">
                          <a:solidFill>
                            <a:srgbClr val="000000"/>
                          </a:solidFill>
                          <a:effectLst/>
                          <a:latin typeface="Calibri Light"/>
                        </a:rPr>
                        <a:t> </a:t>
                      </a:r>
                      <a:endParaRPr lang="en-US" sz="1900" b="0" i="0">
                        <a:effectLst/>
                        <a:latin typeface="Calibri Light"/>
                      </a:endParaRPr>
                    </a:p>
                  </a:txBody>
                  <a:tcPr marL="81525" marR="81525" marT="40763" marB="40763" anchor="ctr">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6350" cap="flat" cmpd="sng" algn="ctr">
                      <a:solidFill>
                        <a:srgbClr val="C0BA3A"/>
                      </a:solidFill>
                      <a:prstDash val="solid"/>
                      <a:round/>
                      <a:headEnd type="none" w="med" len="med"/>
                      <a:tailEnd type="none" w="med" len="med"/>
                    </a:lnT>
                    <a:lnB w="19050" cap="flat" cmpd="dbl" algn="ctr">
                      <a:solidFill>
                        <a:srgbClr val="C0BA3A"/>
                      </a:solidFill>
                      <a:prstDash val="solid"/>
                      <a:round/>
                      <a:headEnd type="none" w="med" len="med"/>
                      <a:tailEnd type="none" w="med" len="med"/>
                    </a:lnB>
                    <a:solidFill>
                      <a:srgbClr val="E2EFDA"/>
                    </a:solidFill>
                  </a:tcPr>
                </a:tc>
                <a:extLst>
                  <a:ext uri="{0D108BD9-81ED-4DB2-BD59-A6C34878D82A}">
                    <a16:rowId xmlns:a16="http://schemas.microsoft.com/office/drawing/2014/main" val="3037993219"/>
                  </a:ext>
                </a:extLst>
              </a:tr>
              <a:tr h="349943">
                <a:tc>
                  <a:txBody>
                    <a:bodyPr/>
                    <a:lstStyle/>
                    <a:p>
                      <a:pPr algn="ctr" rtl="0" fontAlgn="base"/>
                      <a:r>
                        <a:rPr lang="en-US" sz="1100" b="1" i="0">
                          <a:solidFill>
                            <a:srgbClr val="000000"/>
                          </a:solidFill>
                          <a:effectLst/>
                          <a:latin typeface="Calibri Light"/>
                        </a:rPr>
                        <a:t>1</a:t>
                      </a:r>
                      <a:r>
                        <a:rPr lang="en-US" sz="1100" b="0" i="0">
                          <a:solidFill>
                            <a:srgbClr val="000000"/>
                          </a:solidFill>
                          <a:effectLst/>
                          <a:latin typeface="Calibri Light"/>
                        </a:rPr>
                        <a:t> </a:t>
                      </a:r>
                      <a:endParaRPr lang="en-US" sz="1900" b="0" i="0">
                        <a:effectLst/>
                        <a:latin typeface="Calibri Light"/>
                      </a:endParaRPr>
                    </a:p>
                  </a:txBody>
                  <a:tcPr marL="81525" marR="81525" marT="40763" marB="40763">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19050" cap="flat" cmpd="dbl" algn="ctr">
                      <a:solidFill>
                        <a:srgbClr val="C0BA3A"/>
                      </a:solidFill>
                      <a:prstDash val="solid"/>
                      <a:round/>
                      <a:headEnd type="none" w="med" len="med"/>
                      <a:tailEnd type="none" w="med" len="med"/>
                    </a:lnT>
                    <a:lnB w="6350" cap="flat" cmpd="sng" algn="ctr">
                      <a:solidFill>
                        <a:srgbClr val="C0BA3A"/>
                      </a:solidFill>
                      <a:prstDash val="solid"/>
                      <a:round/>
                      <a:headEnd type="none" w="med" len="med"/>
                      <a:tailEnd type="none" w="med" len="med"/>
                    </a:lnB>
                  </a:tcPr>
                </a:tc>
                <a:tc>
                  <a:txBody>
                    <a:bodyPr/>
                    <a:lstStyle/>
                    <a:p>
                      <a:pPr algn="l" rtl="0" fontAlgn="base"/>
                      <a:r>
                        <a:rPr lang="en-US" sz="1100" b="0" i="0">
                          <a:solidFill>
                            <a:srgbClr val="000000"/>
                          </a:solidFill>
                          <a:effectLst/>
                          <a:latin typeface="Calibri Light"/>
                        </a:rPr>
                        <a:t>Loss of Critical Staff </a:t>
                      </a:r>
                      <a:endParaRPr lang="en-US" sz="1900" b="0" i="0">
                        <a:effectLst/>
                        <a:latin typeface="Calibri Light"/>
                      </a:endParaRPr>
                    </a:p>
                  </a:txBody>
                  <a:tcPr marL="81525" marR="81525" marT="40763" marB="40763" anchor="b">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19050" cap="flat" cmpd="dbl" algn="ctr">
                      <a:solidFill>
                        <a:srgbClr val="C0BA3A"/>
                      </a:solidFill>
                      <a:prstDash val="solid"/>
                      <a:round/>
                      <a:headEnd type="none" w="med" len="med"/>
                      <a:tailEnd type="none" w="med" len="med"/>
                    </a:lnT>
                    <a:lnB w="6350" cap="flat" cmpd="sng" algn="ctr">
                      <a:solidFill>
                        <a:srgbClr val="C0BA3A"/>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1 </a:t>
                      </a:r>
                      <a:endParaRPr lang="en-US" sz="1900" b="0" i="0">
                        <a:effectLst/>
                        <a:latin typeface="Calibri Light"/>
                      </a:endParaRPr>
                    </a:p>
                  </a:txBody>
                  <a:tcPr marL="81525" marR="81525" marT="40763" marB="40763" anchor="b">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19050" cap="flat" cmpd="dbl" algn="ctr">
                      <a:solidFill>
                        <a:srgbClr val="C0BA3A"/>
                      </a:solidFill>
                      <a:prstDash val="solid"/>
                      <a:round/>
                      <a:headEnd type="none" w="med" len="med"/>
                      <a:tailEnd type="none" w="med" len="med"/>
                    </a:lnT>
                    <a:lnB w="6350" cap="flat" cmpd="sng" algn="ctr">
                      <a:solidFill>
                        <a:srgbClr val="C0BA3A"/>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3 </a:t>
                      </a:r>
                      <a:endParaRPr lang="en-US" sz="1900" b="0" i="0">
                        <a:effectLst/>
                        <a:latin typeface="Calibri Light"/>
                      </a:endParaRPr>
                    </a:p>
                  </a:txBody>
                  <a:tcPr marL="81525" marR="81525" marT="40763" marB="40763" anchor="b">
                    <a:lnL w="6350" cap="flat" cmpd="sng" algn="ctr">
                      <a:solidFill>
                        <a:srgbClr val="C0BA3A"/>
                      </a:solidFill>
                      <a:prstDash val="solid"/>
                      <a:round/>
                      <a:headEnd type="none" w="med" len="med"/>
                      <a:tailEnd type="none" w="med" len="med"/>
                    </a:lnL>
                    <a:lnR w="6350" cap="flat" cmpd="sng" algn="ctr">
                      <a:solidFill>
                        <a:srgbClr val="C0BA3A"/>
                      </a:solidFill>
                      <a:prstDash val="solid"/>
                      <a:round/>
                      <a:headEnd type="none" w="med" len="med"/>
                      <a:tailEnd type="none" w="med" len="med"/>
                    </a:lnR>
                    <a:lnT w="19050" cap="flat" cmpd="dbl" algn="ctr">
                      <a:solidFill>
                        <a:srgbClr val="C0BA3A"/>
                      </a:solidFill>
                      <a:prstDash val="solid"/>
                      <a:round/>
                      <a:headEnd type="none" w="med" len="med"/>
                      <a:tailEnd type="none" w="med" len="med"/>
                    </a:lnT>
                    <a:lnB w="6350" cap="flat" cmpd="sng" algn="ctr">
                      <a:solidFill>
                        <a:srgbClr val="C0BA3A"/>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03 </a:t>
                      </a:r>
                      <a:endParaRPr lang="en-US" sz="1900" b="0" i="0">
                        <a:effectLst/>
                        <a:latin typeface="Calibri Light"/>
                      </a:endParaRPr>
                    </a:p>
                  </a:txBody>
                  <a:tcPr marL="81525" marR="81525" marT="40763" marB="40763" anchor="b">
                    <a:lnL w="6350" cap="flat" cmpd="sng" algn="ctr">
                      <a:solidFill>
                        <a:srgbClr val="C0BA3A"/>
                      </a:solidFill>
                      <a:prstDash val="solid"/>
                      <a:round/>
                      <a:headEnd type="none" w="med" len="med"/>
                      <a:tailEnd type="none" w="med" len="med"/>
                    </a:lnL>
                    <a:lnR w="6350" cap="flat" cmpd="sng" algn="ctr">
                      <a:solidFill>
                        <a:srgbClr val="10A8E5"/>
                      </a:solidFill>
                      <a:prstDash val="solid"/>
                      <a:round/>
                      <a:headEnd type="none" w="med" len="med"/>
                      <a:tailEnd type="none" w="med" len="med"/>
                    </a:lnR>
                    <a:lnT w="19050" cap="flat" cmpd="dbl" algn="ctr">
                      <a:solidFill>
                        <a:srgbClr val="C0BA3A"/>
                      </a:solidFill>
                      <a:prstDash val="solid"/>
                      <a:round/>
                      <a:headEnd type="none" w="med" len="med"/>
                      <a:tailEnd type="none" w="med" len="med"/>
                    </a:lnT>
                    <a:lnB w="6350" cap="flat" cmpd="sng" algn="ctr">
                      <a:solidFill>
                        <a:srgbClr val="C0A9E5"/>
                      </a:solidFill>
                      <a:prstDash val="solid"/>
                      <a:round/>
                      <a:headEnd type="none" w="med" len="med"/>
                      <a:tailEnd type="none" w="med" len="med"/>
                    </a:lnB>
                  </a:tcPr>
                </a:tc>
                <a:tc>
                  <a:txBody>
                    <a:bodyPr/>
                    <a:lstStyle/>
                    <a:p>
                      <a:pPr algn="ctr" rtl="0" fontAlgn="base"/>
                      <a:r>
                        <a:rPr lang="en-US" sz="1100" b="1" i="0">
                          <a:solidFill>
                            <a:srgbClr val="FFFFFF"/>
                          </a:solidFill>
                          <a:effectLst/>
                          <a:latin typeface="Calibri Light"/>
                        </a:rPr>
                        <a:t>Low</a:t>
                      </a:r>
                      <a:r>
                        <a:rPr lang="en-US" sz="1100" b="0" i="0">
                          <a:solidFill>
                            <a:srgbClr val="FFFFFF"/>
                          </a:solidFill>
                          <a:effectLst/>
                          <a:latin typeface="Calibri Light"/>
                        </a:rPr>
                        <a:t> </a:t>
                      </a:r>
                      <a:endParaRPr lang="en-US" sz="1900" b="0" i="0">
                        <a:effectLst/>
                        <a:latin typeface="Calibri Light"/>
                      </a:endParaRPr>
                    </a:p>
                  </a:txBody>
                  <a:tcPr marL="81525" marR="81525" marT="40763" marB="40763" anchor="b">
                    <a:lnL w="6350" cap="flat" cmpd="sng" algn="ctr">
                      <a:solidFill>
                        <a:srgbClr val="10A8E5"/>
                      </a:solidFill>
                      <a:prstDash val="solid"/>
                      <a:round/>
                      <a:headEnd type="none" w="med" len="med"/>
                      <a:tailEnd type="none" w="med" len="med"/>
                    </a:lnL>
                    <a:lnR w="6350" cap="flat" cmpd="sng" algn="ctr">
                      <a:solidFill>
                        <a:srgbClr val="10A8E5"/>
                      </a:solidFill>
                      <a:prstDash val="solid"/>
                      <a:round/>
                      <a:headEnd type="none" w="med" len="med"/>
                      <a:tailEnd type="none" w="med" len="med"/>
                    </a:lnR>
                    <a:lnT w="19050" cap="flat" cmpd="dbl" algn="ctr">
                      <a:solidFill>
                        <a:srgbClr val="C0BA3A"/>
                      </a:solidFill>
                      <a:prstDash val="solid"/>
                      <a:round/>
                      <a:headEnd type="none" w="med" len="med"/>
                      <a:tailEnd type="none" w="med" len="med"/>
                    </a:lnT>
                    <a:lnB w="6350" cap="flat" cmpd="sng" algn="ctr">
                      <a:solidFill>
                        <a:srgbClr val="20B0E5"/>
                      </a:solidFill>
                      <a:prstDash val="solid"/>
                      <a:round/>
                      <a:headEnd type="none" w="med" len="med"/>
                      <a:tailEnd type="none" w="med" len="med"/>
                    </a:lnB>
                    <a:solidFill>
                      <a:srgbClr val="375623"/>
                    </a:solidFill>
                  </a:tcPr>
                </a:tc>
                <a:extLst>
                  <a:ext uri="{0D108BD9-81ED-4DB2-BD59-A6C34878D82A}">
                    <a16:rowId xmlns:a16="http://schemas.microsoft.com/office/drawing/2014/main" val="598616412"/>
                  </a:ext>
                </a:extLst>
              </a:tr>
              <a:tr h="349943">
                <a:tc>
                  <a:txBody>
                    <a:bodyPr/>
                    <a:lstStyle/>
                    <a:p>
                      <a:pPr algn="ctr" rtl="0" fontAlgn="base"/>
                      <a:r>
                        <a:rPr lang="en-US" sz="1100" b="1" i="0">
                          <a:solidFill>
                            <a:srgbClr val="000000"/>
                          </a:solidFill>
                          <a:effectLst/>
                          <a:latin typeface="Calibri Light"/>
                        </a:rPr>
                        <a:t>2</a:t>
                      </a:r>
                      <a:r>
                        <a:rPr lang="en-US" sz="1100" b="0" i="0">
                          <a:solidFill>
                            <a:srgbClr val="000000"/>
                          </a:solidFill>
                          <a:effectLst/>
                          <a:latin typeface="Calibri Light"/>
                        </a:rPr>
                        <a:t> </a:t>
                      </a:r>
                      <a:endParaRPr lang="en-US" sz="1900" b="0" i="0">
                        <a:effectLst/>
                        <a:latin typeface="Calibri Light"/>
                      </a:endParaRPr>
                    </a:p>
                  </a:txBody>
                  <a:tcPr marL="81525" marR="81525" marT="40763" marB="40763">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C0BA3A"/>
                      </a:solidFill>
                      <a:prstDash val="solid"/>
                      <a:round/>
                      <a:headEnd type="none" w="med" len="med"/>
                      <a:tailEnd type="none" w="med" len="med"/>
                    </a:lnT>
                    <a:lnB w="6350" cap="flat" cmpd="sng" algn="ctr">
                      <a:solidFill>
                        <a:srgbClr val="20B0E5"/>
                      </a:solidFill>
                      <a:prstDash val="solid"/>
                      <a:round/>
                      <a:headEnd type="none" w="med" len="med"/>
                      <a:tailEnd type="none" w="med" len="med"/>
                    </a:lnB>
                    <a:solidFill>
                      <a:srgbClr val="D0CECE"/>
                    </a:solidFill>
                  </a:tcPr>
                </a:tc>
                <a:tc>
                  <a:txBody>
                    <a:bodyPr/>
                    <a:lstStyle/>
                    <a:p>
                      <a:pPr algn="l" rtl="0" fontAlgn="base"/>
                      <a:r>
                        <a:rPr lang="en-US" sz="1100" b="0" i="0">
                          <a:solidFill>
                            <a:srgbClr val="000000"/>
                          </a:solidFill>
                          <a:effectLst/>
                          <a:latin typeface="Calibri Light"/>
                        </a:rPr>
                        <a:t>Economic Recession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C0BA3A"/>
                      </a:solidFill>
                      <a:prstDash val="solid"/>
                      <a:round/>
                      <a:headEnd type="none" w="med" len="med"/>
                      <a:tailEnd type="none" w="med" len="med"/>
                    </a:lnT>
                    <a:lnB w="6350" cap="flat" cmpd="sng" algn="ctr">
                      <a:solidFill>
                        <a:srgbClr val="20B0E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1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C0BA3A"/>
                      </a:solidFill>
                      <a:prstDash val="solid"/>
                      <a:round/>
                      <a:headEnd type="none" w="med" len="med"/>
                      <a:tailEnd type="none" w="med" len="med"/>
                    </a:lnT>
                    <a:lnB w="6350" cap="flat" cmpd="sng" algn="ctr">
                      <a:solidFill>
                        <a:srgbClr val="20B0E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7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C0BA3A"/>
                      </a:solidFill>
                      <a:prstDash val="solid"/>
                      <a:round/>
                      <a:headEnd type="none" w="med" len="med"/>
                      <a:tailEnd type="none" w="med" len="med"/>
                    </a:lnT>
                    <a:lnB w="6350" cap="flat" cmpd="sng" algn="ctr">
                      <a:solidFill>
                        <a:srgbClr val="20B0E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07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C0A9E5"/>
                      </a:solidFill>
                      <a:prstDash val="solid"/>
                      <a:round/>
                      <a:headEnd type="none" w="med" len="med"/>
                      <a:tailEnd type="none" w="med" len="med"/>
                    </a:lnT>
                    <a:lnB w="6350" cap="flat" cmpd="sng" algn="ctr">
                      <a:solidFill>
                        <a:srgbClr val="20B0E5"/>
                      </a:solidFill>
                      <a:prstDash val="solid"/>
                      <a:round/>
                      <a:headEnd type="none" w="med" len="med"/>
                      <a:tailEnd type="none" w="med" len="med"/>
                    </a:lnB>
                    <a:solidFill>
                      <a:srgbClr val="D0CECE"/>
                    </a:solidFill>
                  </a:tcPr>
                </a:tc>
                <a:tc>
                  <a:txBody>
                    <a:bodyPr/>
                    <a:lstStyle/>
                    <a:p>
                      <a:pPr algn="ctr" rtl="0" fontAlgn="base"/>
                      <a:r>
                        <a:rPr lang="en-US" sz="1100" b="1" i="0">
                          <a:solidFill>
                            <a:srgbClr val="FFFFFF"/>
                          </a:solidFill>
                          <a:effectLst/>
                          <a:latin typeface="Calibri Light"/>
                        </a:rPr>
                        <a:t>Low</a:t>
                      </a:r>
                      <a:r>
                        <a:rPr lang="en-US" sz="1100" b="0" i="0">
                          <a:solidFill>
                            <a:srgbClr val="FFFFFF"/>
                          </a:solidFill>
                          <a:effectLst/>
                          <a:latin typeface="Calibri Light"/>
                        </a:rPr>
                        <a:t>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20B0E5"/>
                      </a:solidFill>
                      <a:prstDash val="solid"/>
                      <a:round/>
                      <a:headEnd type="none" w="med" len="med"/>
                      <a:tailEnd type="none" w="med" len="med"/>
                    </a:lnB>
                    <a:solidFill>
                      <a:srgbClr val="375623"/>
                    </a:solidFill>
                  </a:tcPr>
                </a:tc>
                <a:extLst>
                  <a:ext uri="{0D108BD9-81ED-4DB2-BD59-A6C34878D82A}">
                    <a16:rowId xmlns:a16="http://schemas.microsoft.com/office/drawing/2014/main" val="913031046"/>
                  </a:ext>
                </a:extLst>
              </a:tr>
              <a:tr h="545912">
                <a:tc>
                  <a:txBody>
                    <a:bodyPr/>
                    <a:lstStyle/>
                    <a:p>
                      <a:pPr algn="ctr" rtl="0" fontAlgn="base"/>
                      <a:r>
                        <a:rPr lang="en-US" sz="1100" b="1" i="0">
                          <a:solidFill>
                            <a:srgbClr val="000000"/>
                          </a:solidFill>
                          <a:effectLst/>
                          <a:latin typeface="Calibri Light"/>
                        </a:rPr>
                        <a:t>3</a:t>
                      </a:r>
                      <a:r>
                        <a:rPr lang="en-US" sz="1100" b="0" i="0">
                          <a:solidFill>
                            <a:srgbClr val="000000"/>
                          </a:solidFill>
                          <a:effectLst/>
                          <a:latin typeface="Calibri Light"/>
                        </a:rPr>
                        <a:t> </a:t>
                      </a:r>
                      <a:endParaRPr lang="en-US" sz="1900" b="0" i="0">
                        <a:effectLst/>
                        <a:latin typeface="Calibri Light"/>
                      </a:endParaRPr>
                    </a:p>
                  </a:txBody>
                  <a:tcPr marL="81525" marR="81525" marT="40763" marB="40763">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20B0E5"/>
                      </a:solidFill>
                      <a:prstDash val="solid"/>
                      <a:round/>
                      <a:headEnd type="none" w="med" len="med"/>
                      <a:tailEnd type="none" w="med" len="med"/>
                    </a:lnB>
                  </a:tcPr>
                </a:tc>
                <a:tc>
                  <a:txBody>
                    <a:bodyPr/>
                    <a:lstStyle/>
                    <a:p>
                      <a:pPr algn="l" rtl="0" fontAlgn="base"/>
                      <a:r>
                        <a:rPr lang="en-US" sz="1100" b="0" i="0">
                          <a:solidFill>
                            <a:srgbClr val="000000"/>
                          </a:solidFill>
                          <a:effectLst/>
                          <a:latin typeface="Calibri Light"/>
                        </a:rPr>
                        <a:t>Technical Compatibility and Bug Issues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20B0E5"/>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7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20B0E5"/>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5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20B0E5"/>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35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20B0E5"/>
                      </a:solidFill>
                      <a:prstDash val="solid"/>
                      <a:round/>
                      <a:headEnd type="none" w="med" len="med"/>
                      <a:tailEnd type="none" w="med" len="med"/>
                    </a:lnB>
                  </a:tcPr>
                </a:tc>
                <a:tc>
                  <a:txBody>
                    <a:bodyPr/>
                    <a:lstStyle/>
                    <a:p>
                      <a:pPr algn="ctr" rtl="0" fontAlgn="base"/>
                      <a:r>
                        <a:rPr lang="en-US" sz="1100" b="1" i="0">
                          <a:effectLst/>
                          <a:latin typeface="Calibri Light"/>
                        </a:rPr>
                        <a:t>Medium</a:t>
                      </a:r>
                      <a:r>
                        <a:rPr lang="en-US" sz="1100" b="0" i="0">
                          <a:effectLst/>
                          <a:latin typeface="Calibri Light"/>
                        </a:rPr>
                        <a:t> </a:t>
                      </a:r>
                      <a:endParaRPr lang="en-US" sz="1900" b="0" i="0">
                        <a:effectLst/>
                        <a:latin typeface="Calibri Light"/>
                      </a:endParaRPr>
                    </a:p>
                  </a:txBody>
                  <a:tcPr marL="81525" marR="81525" marT="40763" marB="40763" anchor="b">
                    <a:lnL w="6350" cap="flat" cmpd="sng" algn="ctr">
                      <a:solidFill>
                        <a:srgbClr val="20B0E5"/>
                      </a:solidFill>
                      <a:prstDash val="solid"/>
                      <a:round/>
                      <a:headEnd type="none" w="med" len="med"/>
                      <a:tailEnd type="none" w="med" len="med"/>
                    </a:lnL>
                    <a:lnR w="6350" cap="flat" cmpd="sng" algn="ctr">
                      <a:solidFill>
                        <a:srgbClr val="20B0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FFC000"/>
                    </a:solidFill>
                  </a:tcPr>
                </a:tc>
                <a:extLst>
                  <a:ext uri="{0D108BD9-81ED-4DB2-BD59-A6C34878D82A}">
                    <a16:rowId xmlns:a16="http://schemas.microsoft.com/office/drawing/2014/main" val="1861502185"/>
                  </a:ext>
                </a:extLst>
              </a:tr>
              <a:tr h="545912">
                <a:tc>
                  <a:txBody>
                    <a:bodyPr/>
                    <a:lstStyle/>
                    <a:p>
                      <a:pPr algn="ctr" rtl="0" fontAlgn="base"/>
                      <a:r>
                        <a:rPr lang="en-US" sz="1100" b="1" i="0">
                          <a:solidFill>
                            <a:srgbClr val="000000"/>
                          </a:solidFill>
                          <a:effectLst/>
                          <a:latin typeface="Calibri Light"/>
                        </a:rPr>
                        <a:t>4</a:t>
                      </a:r>
                      <a:r>
                        <a:rPr lang="en-US" sz="1100" b="0" i="0">
                          <a:solidFill>
                            <a:srgbClr val="000000"/>
                          </a:solidFill>
                          <a:effectLst/>
                          <a:latin typeface="Calibri Light"/>
                        </a:rPr>
                        <a:t> </a:t>
                      </a:r>
                      <a:endParaRPr lang="en-US" sz="1900" b="0" i="0">
                        <a:effectLst/>
                        <a:latin typeface="Calibri Light"/>
                      </a:endParaRPr>
                    </a:p>
                  </a:txBody>
                  <a:tcPr marL="81525" marR="81525" marT="40763" marB="40763">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D0CECE"/>
                    </a:solidFill>
                  </a:tcPr>
                </a:tc>
                <a:tc>
                  <a:txBody>
                    <a:bodyPr/>
                    <a:lstStyle/>
                    <a:p>
                      <a:pPr algn="l" rtl="0" fontAlgn="base"/>
                      <a:r>
                        <a:rPr lang="en-US" sz="1100" b="0" i="0">
                          <a:solidFill>
                            <a:srgbClr val="000000"/>
                          </a:solidFill>
                          <a:effectLst/>
                          <a:latin typeface="Calibri Light"/>
                        </a:rPr>
                        <a:t>Security and Data Integrity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4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9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36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20B0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D0CECE"/>
                    </a:solidFill>
                  </a:tcPr>
                </a:tc>
                <a:tc>
                  <a:txBody>
                    <a:bodyPr/>
                    <a:lstStyle/>
                    <a:p>
                      <a:pPr algn="ctr" rtl="0" fontAlgn="base"/>
                      <a:r>
                        <a:rPr lang="en-US" sz="1100" b="1" i="0">
                          <a:solidFill>
                            <a:srgbClr val="FFFFFF"/>
                          </a:solidFill>
                          <a:effectLst/>
                          <a:latin typeface="Calibri Light"/>
                        </a:rPr>
                        <a:t>High</a:t>
                      </a:r>
                      <a:r>
                        <a:rPr lang="en-US" sz="1100" b="0" i="0">
                          <a:solidFill>
                            <a:srgbClr val="FFFFFF"/>
                          </a:solidFill>
                          <a:effectLst/>
                          <a:latin typeface="Calibri Light"/>
                        </a:rPr>
                        <a:t>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C00000"/>
                    </a:solidFill>
                  </a:tcPr>
                </a:tc>
                <a:extLst>
                  <a:ext uri="{0D108BD9-81ED-4DB2-BD59-A6C34878D82A}">
                    <a16:rowId xmlns:a16="http://schemas.microsoft.com/office/drawing/2014/main" val="3183150233"/>
                  </a:ext>
                </a:extLst>
              </a:tr>
              <a:tr h="349943">
                <a:tc>
                  <a:txBody>
                    <a:bodyPr/>
                    <a:lstStyle/>
                    <a:p>
                      <a:pPr algn="ctr" rtl="0" fontAlgn="base"/>
                      <a:r>
                        <a:rPr lang="en-US" sz="1100" b="1" i="0">
                          <a:solidFill>
                            <a:srgbClr val="000000"/>
                          </a:solidFill>
                          <a:effectLst/>
                          <a:latin typeface="Calibri Light"/>
                        </a:rPr>
                        <a:t>5</a:t>
                      </a:r>
                      <a:r>
                        <a:rPr lang="en-US" sz="1100" b="0" i="0">
                          <a:solidFill>
                            <a:srgbClr val="000000"/>
                          </a:solidFill>
                          <a:effectLst/>
                          <a:latin typeface="Calibri Light"/>
                        </a:rPr>
                        <a:t> </a:t>
                      </a:r>
                      <a:endParaRPr lang="en-US" sz="1900" b="0" i="0">
                        <a:effectLst/>
                        <a:latin typeface="Calibri Light"/>
                      </a:endParaRPr>
                    </a:p>
                  </a:txBody>
                  <a:tcPr marL="81525" marR="81525" marT="40763" marB="40763">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tcPr>
                </a:tc>
                <a:tc>
                  <a:txBody>
                    <a:bodyPr/>
                    <a:lstStyle/>
                    <a:p>
                      <a:pPr algn="l" rtl="0" fontAlgn="base"/>
                      <a:r>
                        <a:rPr lang="en-US" sz="1100" b="0" i="0">
                          <a:solidFill>
                            <a:srgbClr val="000000"/>
                          </a:solidFill>
                          <a:effectLst/>
                          <a:latin typeface="Calibri Light"/>
                        </a:rPr>
                        <a:t>Design Complexity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1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5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05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tcPr>
                </a:tc>
                <a:tc>
                  <a:txBody>
                    <a:bodyPr/>
                    <a:lstStyle/>
                    <a:p>
                      <a:pPr algn="ctr" rtl="0" fontAlgn="base"/>
                      <a:r>
                        <a:rPr lang="en-US" sz="1100" b="1" i="0">
                          <a:solidFill>
                            <a:srgbClr val="FFFFFF"/>
                          </a:solidFill>
                          <a:effectLst/>
                          <a:latin typeface="Calibri Light"/>
                        </a:rPr>
                        <a:t>Low</a:t>
                      </a:r>
                      <a:r>
                        <a:rPr lang="en-US" sz="1100" b="0" i="0">
                          <a:solidFill>
                            <a:srgbClr val="FFFFFF"/>
                          </a:solidFill>
                          <a:effectLst/>
                          <a:latin typeface="Calibri Light"/>
                        </a:rPr>
                        <a:t>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D0D005"/>
                      </a:solidFill>
                      <a:prstDash val="solid"/>
                      <a:round/>
                      <a:headEnd type="none" w="med" len="med"/>
                      <a:tailEnd type="none" w="med" len="med"/>
                    </a:lnB>
                    <a:solidFill>
                      <a:srgbClr val="375623"/>
                    </a:solidFill>
                  </a:tcPr>
                </a:tc>
                <a:extLst>
                  <a:ext uri="{0D108BD9-81ED-4DB2-BD59-A6C34878D82A}">
                    <a16:rowId xmlns:a16="http://schemas.microsoft.com/office/drawing/2014/main" val="3034172958"/>
                  </a:ext>
                </a:extLst>
              </a:tr>
              <a:tr h="545912">
                <a:tc>
                  <a:txBody>
                    <a:bodyPr/>
                    <a:lstStyle/>
                    <a:p>
                      <a:pPr algn="ctr" rtl="0" fontAlgn="base"/>
                      <a:r>
                        <a:rPr lang="en-US" sz="1100" b="1" i="0">
                          <a:solidFill>
                            <a:srgbClr val="000000"/>
                          </a:solidFill>
                          <a:effectLst/>
                          <a:latin typeface="Calibri Light"/>
                        </a:rPr>
                        <a:t>6</a:t>
                      </a:r>
                      <a:r>
                        <a:rPr lang="en-US" sz="1100" b="0" i="0">
                          <a:solidFill>
                            <a:srgbClr val="000000"/>
                          </a:solidFill>
                          <a:effectLst/>
                          <a:latin typeface="Calibri Light"/>
                        </a:rPr>
                        <a:t> </a:t>
                      </a:r>
                      <a:endParaRPr lang="en-US" sz="1900" b="0" i="0">
                        <a:effectLst/>
                        <a:latin typeface="Calibri Light"/>
                      </a:endParaRPr>
                    </a:p>
                  </a:txBody>
                  <a:tcPr marL="81525" marR="81525" marT="40763" marB="40763">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D0CECE"/>
                    </a:solidFill>
                  </a:tcPr>
                </a:tc>
                <a:tc>
                  <a:txBody>
                    <a:bodyPr/>
                    <a:lstStyle/>
                    <a:p>
                      <a:pPr algn="l" rtl="0" fontAlgn="base"/>
                      <a:r>
                        <a:rPr lang="en-US" sz="1100" b="0" i="0">
                          <a:solidFill>
                            <a:srgbClr val="000000"/>
                          </a:solidFill>
                          <a:effectLst/>
                          <a:latin typeface="Calibri Light"/>
                        </a:rPr>
                        <a:t>Lack of Industry Standards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1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5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50C2E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50C2E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05 </a:t>
                      </a:r>
                      <a:endParaRPr lang="en-US" sz="1900" b="0" i="0">
                        <a:effectLst/>
                        <a:latin typeface="Calibri Light"/>
                      </a:endParaRPr>
                    </a:p>
                  </a:txBody>
                  <a:tcPr marL="81525" marR="81525" marT="40763" marB="40763" anchor="b">
                    <a:lnL w="6350" cap="flat" cmpd="sng" algn="ctr">
                      <a:solidFill>
                        <a:srgbClr val="50C2E5"/>
                      </a:solidFill>
                      <a:prstDash val="solid"/>
                      <a:round/>
                      <a:headEnd type="none" w="med" len="med"/>
                      <a:tailEnd type="none" w="med" len="med"/>
                    </a:lnL>
                    <a:lnR w="6350" cap="flat" cmpd="sng" algn="ctr">
                      <a:solidFill>
                        <a:srgbClr val="D0D00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80D205"/>
                      </a:solidFill>
                      <a:prstDash val="solid"/>
                      <a:round/>
                      <a:headEnd type="none" w="med" len="med"/>
                      <a:tailEnd type="none" w="med" len="med"/>
                    </a:lnB>
                    <a:solidFill>
                      <a:srgbClr val="D0CECE"/>
                    </a:solidFill>
                  </a:tcPr>
                </a:tc>
                <a:tc>
                  <a:txBody>
                    <a:bodyPr/>
                    <a:lstStyle/>
                    <a:p>
                      <a:pPr algn="ctr" rtl="0" fontAlgn="base"/>
                      <a:r>
                        <a:rPr lang="en-US" sz="1100" b="1" i="0">
                          <a:solidFill>
                            <a:srgbClr val="FFFFFF"/>
                          </a:solidFill>
                          <a:effectLst/>
                          <a:latin typeface="Calibri Light"/>
                        </a:rPr>
                        <a:t>Low</a:t>
                      </a:r>
                      <a:r>
                        <a:rPr lang="en-US" sz="1100" b="0" i="0">
                          <a:solidFill>
                            <a:srgbClr val="FFFFFF"/>
                          </a:solidFill>
                          <a:effectLst/>
                          <a:latin typeface="Calibri Light"/>
                        </a:rPr>
                        <a:t> </a:t>
                      </a:r>
                      <a:endParaRPr lang="en-US" sz="1900" b="0" i="0">
                        <a:effectLst/>
                        <a:latin typeface="Calibri Light"/>
                      </a:endParaRPr>
                    </a:p>
                  </a:txBody>
                  <a:tcPr marL="81525" marR="81525" marT="40763" marB="40763" anchor="b">
                    <a:lnL w="6350" cap="flat" cmpd="sng" algn="ctr">
                      <a:solidFill>
                        <a:srgbClr val="D0D005"/>
                      </a:solidFill>
                      <a:prstDash val="solid"/>
                      <a:round/>
                      <a:headEnd type="none" w="med" len="med"/>
                      <a:tailEnd type="none" w="med" len="med"/>
                    </a:lnL>
                    <a:lnR w="6350" cap="flat" cmpd="sng" algn="ctr">
                      <a:solidFill>
                        <a:srgbClr val="D0D005"/>
                      </a:solidFill>
                      <a:prstDash val="solid"/>
                      <a:round/>
                      <a:headEnd type="none" w="med" len="med"/>
                      <a:tailEnd type="none" w="med" len="med"/>
                    </a:lnR>
                    <a:lnT w="6350" cap="flat" cmpd="sng" algn="ctr">
                      <a:solidFill>
                        <a:srgbClr val="D0D005"/>
                      </a:solidFill>
                      <a:prstDash val="solid"/>
                      <a:round/>
                      <a:headEnd type="none" w="med" len="med"/>
                      <a:tailEnd type="none" w="med" len="med"/>
                    </a:lnT>
                    <a:lnB w="6350" cap="flat" cmpd="sng" algn="ctr">
                      <a:solidFill>
                        <a:srgbClr val="20D505"/>
                      </a:solidFill>
                      <a:prstDash val="solid"/>
                      <a:round/>
                      <a:headEnd type="none" w="med" len="med"/>
                      <a:tailEnd type="none" w="med" len="med"/>
                    </a:lnB>
                    <a:solidFill>
                      <a:srgbClr val="375623"/>
                    </a:solidFill>
                  </a:tcPr>
                </a:tc>
                <a:extLst>
                  <a:ext uri="{0D108BD9-81ED-4DB2-BD59-A6C34878D82A}">
                    <a16:rowId xmlns:a16="http://schemas.microsoft.com/office/drawing/2014/main" val="1012328217"/>
                  </a:ext>
                </a:extLst>
              </a:tr>
              <a:tr h="349943">
                <a:tc>
                  <a:txBody>
                    <a:bodyPr/>
                    <a:lstStyle/>
                    <a:p>
                      <a:pPr algn="ctr" rtl="0" fontAlgn="base"/>
                      <a:r>
                        <a:rPr lang="en-US" sz="1100" b="1" i="0">
                          <a:solidFill>
                            <a:srgbClr val="000000"/>
                          </a:solidFill>
                          <a:effectLst/>
                          <a:latin typeface="Calibri Light"/>
                        </a:rPr>
                        <a:t>7</a:t>
                      </a:r>
                      <a:r>
                        <a:rPr lang="en-US" sz="1100" b="0" i="0">
                          <a:solidFill>
                            <a:srgbClr val="000000"/>
                          </a:solidFill>
                          <a:effectLst/>
                          <a:latin typeface="Calibri Light"/>
                        </a:rPr>
                        <a:t> </a:t>
                      </a:r>
                      <a:endParaRPr lang="en-US" sz="1900" b="0" i="0">
                        <a:effectLst/>
                        <a:latin typeface="Calibri Light"/>
                      </a:endParaRPr>
                    </a:p>
                  </a:txBody>
                  <a:tcPr marL="81525" marR="81525" marT="40763" marB="40763">
                    <a:lnL w="6350" cap="flat" cmpd="sng" algn="ctr">
                      <a:solidFill>
                        <a:srgbClr val="68D505"/>
                      </a:solidFill>
                      <a:prstDash val="solid"/>
                      <a:round/>
                      <a:headEnd type="none" w="med" len="med"/>
                      <a:tailEnd type="none" w="med" len="med"/>
                    </a:lnL>
                    <a:lnR w="6350" cap="flat" cmpd="sng" algn="ctr">
                      <a:solidFill>
                        <a:srgbClr val="68D50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68D505"/>
                      </a:solidFill>
                      <a:prstDash val="solid"/>
                      <a:round/>
                      <a:headEnd type="none" w="med" len="med"/>
                      <a:tailEnd type="none" w="med" len="med"/>
                    </a:lnB>
                  </a:tcPr>
                </a:tc>
                <a:tc>
                  <a:txBody>
                    <a:bodyPr/>
                    <a:lstStyle/>
                    <a:p>
                      <a:pPr algn="l" rtl="0" fontAlgn="base"/>
                      <a:r>
                        <a:rPr lang="en-US" sz="1100" b="0" i="0">
                          <a:solidFill>
                            <a:srgbClr val="000000"/>
                          </a:solidFill>
                          <a:effectLst/>
                          <a:latin typeface="Calibri Light"/>
                        </a:rPr>
                        <a:t>Budget Overrun </a:t>
                      </a:r>
                      <a:endParaRPr lang="en-US" sz="1900" b="0" i="0">
                        <a:effectLst/>
                        <a:latin typeface="Calibri Light"/>
                      </a:endParaRPr>
                    </a:p>
                  </a:txBody>
                  <a:tcPr marL="81525" marR="81525" marT="40763" marB="40763" anchor="b">
                    <a:lnL w="6350" cap="flat" cmpd="sng" algn="ctr">
                      <a:solidFill>
                        <a:srgbClr val="68D505"/>
                      </a:solidFill>
                      <a:prstDash val="solid"/>
                      <a:round/>
                      <a:headEnd type="none" w="med" len="med"/>
                      <a:tailEnd type="none" w="med" len="med"/>
                    </a:lnL>
                    <a:lnR w="6350" cap="flat" cmpd="sng" algn="ctr">
                      <a:solidFill>
                        <a:srgbClr val="98D50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98D505"/>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5 </a:t>
                      </a:r>
                      <a:endParaRPr lang="en-US" sz="1900" b="0" i="0">
                        <a:effectLst/>
                        <a:latin typeface="Calibri Light"/>
                      </a:endParaRPr>
                    </a:p>
                  </a:txBody>
                  <a:tcPr marL="81525" marR="81525" marT="40763" marB="40763" anchor="b">
                    <a:lnL w="6350" cap="flat" cmpd="sng" algn="ctr">
                      <a:solidFill>
                        <a:srgbClr val="98D505"/>
                      </a:solidFill>
                      <a:prstDash val="solid"/>
                      <a:round/>
                      <a:headEnd type="none" w="med" len="med"/>
                      <a:tailEnd type="none" w="med" len="med"/>
                    </a:lnL>
                    <a:lnR w="6350" cap="flat" cmpd="sng" algn="ctr">
                      <a:solidFill>
                        <a:srgbClr val="20D50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20D505"/>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9 </a:t>
                      </a:r>
                      <a:endParaRPr lang="en-US" sz="1900" b="0" i="0">
                        <a:effectLst/>
                        <a:latin typeface="Calibri Light"/>
                      </a:endParaRPr>
                    </a:p>
                  </a:txBody>
                  <a:tcPr marL="81525" marR="81525" marT="40763" marB="40763" anchor="b">
                    <a:lnL w="6350" cap="flat" cmpd="sng" algn="ctr">
                      <a:solidFill>
                        <a:srgbClr val="20D505"/>
                      </a:solidFill>
                      <a:prstDash val="solid"/>
                      <a:round/>
                      <a:headEnd type="none" w="med" len="med"/>
                      <a:tailEnd type="none" w="med" len="med"/>
                    </a:lnL>
                    <a:lnR w="6350" cap="flat" cmpd="sng" algn="ctr">
                      <a:solidFill>
                        <a:srgbClr val="98D505"/>
                      </a:solidFill>
                      <a:prstDash val="solid"/>
                      <a:round/>
                      <a:headEnd type="none" w="med" len="med"/>
                      <a:tailEnd type="none" w="med" len="med"/>
                    </a:lnR>
                    <a:lnT w="6350" cap="flat" cmpd="sng" algn="ctr">
                      <a:solidFill>
                        <a:srgbClr val="50C2E5"/>
                      </a:solidFill>
                      <a:prstDash val="solid"/>
                      <a:round/>
                      <a:headEnd type="none" w="med" len="med"/>
                      <a:tailEnd type="none" w="med" len="med"/>
                    </a:lnT>
                    <a:lnB w="6350" cap="flat" cmpd="sng" algn="ctr">
                      <a:solidFill>
                        <a:srgbClr val="98D505"/>
                      </a:solidFill>
                      <a:prstDash val="solid"/>
                      <a:round/>
                      <a:headEnd type="none" w="med" len="med"/>
                      <a:tailEnd type="none" w="med" len="med"/>
                    </a:lnB>
                  </a:tcPr>
                </a:tc>
                <a:tc>
                  <a:txBody>
                    <a:bodyPr/>
                    <a:lstStyle/>
                    <a:p>
                      <a:pPr algn="ctr" rtl="0" fontAlgn="base"/>
                      <a:r>
                        <a:rPr lang="en-US" sz="1100" b="0" i="0">
                          <a:solidFill>
                            <a:srgbClr val="000000"/>
                          </a:solidFill>
                          <a:effectLst/>
                          <a:latin typeface="Calibri Light"/>
                        </a:rPr>
                        <a:t>0.45 </a:t>
                      </a:r>
                      <a:endParaRPr lang="en-US" sz="1900" b="0" i="0">
                        <a:effectLst/>
                        <a:latin typeface="Calibri Light"/>
                      </a:endParaRPr>
                    </a:p>
                  </a:txBody>
                  <a:tcPr marL="81525" marR="81525" marT="40763" marB="40763" anchor="b">
                    <a:lnL w="6350" cap="flat" cmpd="sng" algn="ctr">
                      <a:solidFill>
                        <a:srgbClr val="98D505"/>
                      </a:solidFill>
                      <a:prstDash val="solid"/>
                      <a:round/>
                      <a:headEnd type="none" w="med" len="med"/>
                      <a:tailEnd type="none" w="med" len="med"/>
                    </a:lnL>
                    <a:lnR w="6350" cap="flat" cmpd="sng" algn="ctr">
                      <a:solidFill>
                        <a:srgbClr val="20D505"/>
                      </a:solidFill>
                      <a:prstDash val="solid"/>
                      <a:round/>
                      <a:headEnd type="none" w="med" len="med"/>
                      <a:tailEnd type="none" w="med" len="med"/>
                    </a:lnR>
                    <a:lnT w="6350" cap="flat" cmpd="sng" algn="ctr">
                      <a:solidFill>
                        <a:srgbClr val="80D205"/>
                      </a:solidFill>
                      <a:prstDash val="solid"/>
                      <a:round/>
                      <a:headEnd type="none" w="med" len="med"/>
                      <a:tailEnd type="none" w="med" len="med"/>
                    </a:lnT>
                    <a:lnB w="6350" cap="flat" cmpd="sng" algn="ctr">
                      <a:solidFill>
                        <a:srgbClr val="98D505"/>
                      </a:solidFill>
                      <a:prstDash val="solid"/>
                      <a:round/>
                      <a:headEnd type="none" w="med" len="med"/>
                      <a:tailEnd type="none" w="med" len="med"/>
                    </a:lnB>
                  </a:tcPr>
                </a:tc>
                <a:tc>
                  <a:txBody>
                    <a:bodyPr/>
                    <a:lstStyle/>
                    <a:p>
                      <a:pPr algn="ctr" rtl="0" fontAlgn="base"/>
                      <a:r>
                        <a:rPr lang="en-US" sz="1100" b="1" i="0">
                          <a:solidFill>
                            <a:srgbClr val="FFFFFF"/>
                          </a:solidFill>
                          <a:effectLst/>
                          <a:latin typeface="Calibri Light"/>
                        </a:rPr>
                        <a:t>High</a:t>
                      </a:r>
                      <a:r>
                        <a:rPr lang="en-US" sz="1100" b="0" i="0">
                          <a:solidFill>
                            <a:srgbClr val="FFFFFF"/>
                          </a:solidFill>
                          <a:effectLst/>
                          <a:latin typeface="Calibri Light"/>
                        </a:rPr>
                        <a:t> </a:t>
                      </a:r>
                      <a:endParaRPr lang="en-US" sz="1900" b="0" i="0">
                        <a:effectLst/>
                        <a:latin typeface="Calibri Light"/>
                      </a:endParaRPr>
                    </a:p>
                  </a:txBody>
                  <a:tcPr marL="81525" marR="81525" marT="40763" marB="40763" anchor="b">
                    <a:lnL w="6350" cap="flat" cmpd="sng" algn="ctr">
                      <a:solidFill>
                        <a:srgbClr val="20D505"/>
                      </a:solidFill>
                      <a:prstDash val="solid"/>
                      <a:round/>
                      <a:headEnd type="none" w="med" len="med"/>
                      <a:tailEnd type="none" w="med" len="med"/>
                    </a:lnL>
                    <a:lnR w="6350" cap="flat" cmpd="sng" algn="ctr">
                      <a:solidFill>
                        <a:srgbClr val="20D505"/>
                      </a:solidFill>
                      <a:prstDash val="solid"/>
                      <a:round/>
                      <a:headEnd type="none" w="med" len="med"/>
                      <a:tailEnd type="none" w="med" len="med"/>
                    </a:lnR>
                    <a:lnT w="6350" cap="flat" cmpd="sng" algn="ctr">
                      <a:solidFill>
                        <a:srgbClr val="20D505"/>
                      </a:solidFill>
                      <a:prstDash val="solid"/>
                      <a:round/>
                      <a:headEnd type="none" w="med" len="med"/>
                      <a:tailEnd type="none" w="med" len="med"/>
                    </a:lnT>
                    <a:lnB w="6350" cap="flat" cmpd="sng" algn="ctr">
                      <a:solidFill>
                        <a:srgbClr val="98D505"/>
                      </a:solidFill>
                      <a:prstDash val="solid"/>
                      <a:round/>
                      <a:headEnd type="none" w="med" len="med"/>
                      <a:tailEnd type="none" w="med" len="med"/>
                    </a:lnB>
                    <a:solidFill>
                      <a:srgbClr val="C00000"/>
                    </a:solidFill>
                  </a:tcPr>
                </a:tc>
                <a:extLst>
                  <a:ext uri="{0D108BD9-81ED-4DB2-BD59-A6C34878D82A}">
                    <a16:rowId xmlns:a16="http://schemas.microsoft.com/office/drawing/2014/main" val="3896868320"/>
                  </a:ext>
                </a:extLst>
              </a:tr>
              <a:tr h="349943">
                <a:tc>
                  <a:txBody>
                    <a:bodyPr/>
                    <a:lstStyle/>
                    <a:p>
                      <a:pPr algn="ctr" rtl="0" fontAlgn="base"/>
                      <a:r>
                        <a:rPr lang="en-US" sz="1100" b="1" i="0">
                          <a:solidFill>
                            <a:srgbClr val="000000"/>
                          </a:solidFill>
                          <a:effectLst/>
                          <a:latin typeface="Calibri Light"/>
                        </a:rPr>
                        <a:t>8</a:t>
                      </a:r>
                      <a:r>
                        <a:rPr lang="en-US" sz="1100" b="0" i="0">
                          <a:solidFill>
                            <a:srgbClr val="000000"/>
                          </a:solidFill>
                          <a:effectLst/>
                          <a:latin typeface="Calibri Light"/>
                        </a:rPr>
                        <a:t> </a:t>
                      </a:r>
                      <a:endParaRPr lang="en-US" sz="1900" b="0" i="0">
                        <a:effectLst/>
                        <a:latin typeface="Calibri Light"/>
                      </a:endParaRPr>
                    </a:p>
                  </a:txBody>
                  <a:tcPr marL="81525" marR="81525" marT="40763" marB="40763">
                    <a:lnL w="6350" cap="flat" cmpd="sng" algn="ctr">
                      <a:solidFill>
                        <a:srgbClr val="98D505"/>
                      </a:solidFill>
                      <a:prstDash val="solid"/>
                      <a:round/>
                      <a:headEnd type="none" w="med" len="med"/>
                      <a:tailEnd type="none" w="med" len="med"/>
                    </a:lnL>
                    <a:lnR w="6350" cap="flat" cmpd="sng" algn="ctr">
                      <a:solidFill>
                        <a:srgbClr val="98D505"/>
                      </a:solidFill>
                      <a:prstDash val="solid"/>
                      <a:round/>
                      <a:headEnd type="none" w="med" len="med"/>
                      <a:tailEnd type="none" w="med" len="med"/>
                    </a:lnR>
                    <a:lnT w="6350" cap="flat" cmpd="sng" algn="ctr">
                      <a:solidFill>
                        <a:srgbClr val="68D505"/>
                      </a:solidFill>
                      <a:prstDash val="solid"/>
                      <a:round/>
                      <a:headEnd type="none" w="med" len="med"/>
                      <a:tailEnd type="none" w="med" len="med"/>
                    </a:lnT>
                    <a:lnB w="6350" cap="flat" cmpd="sng" algn="ctr">
                      <a:solidFill>
                        <a:srgbClr val="98D505"/>
                      </a:solidFill>
                      <a:prstDash val="solid"/>
                      <a:round/>
                      <a:headEnd type="none" w="med" len="med"/>
                      <a:tailEnd type="none" w="med" len="med"/>
                    </a:lnB>
                    <a:solidFill>
                      <a:srgbClr val="D0CECE"/>
                    </a:solidFill>
                  </a:tcPr>
                </a:tc>
                <a:tc>
                  <a:txBody>
                    <a:bodyPr/>
                    <a:lstStyle/>
                    <a:p>
                      <a:pPr algn="l" rtl="0" fontAlgn="base"/>
                      <a:r>
                        <a:rPr lang="en-US" sz="1100" b="0" i="0">
                          <a:solidFill>
                            <a:srgbClr val="000000"/>
                          </a:solidFill>
                          <a:effectLst/>
                          <a:latin typeface="Calibri Light"/>
                        </a:rPr>
                        <a:t>Scope Creep </a:t>
                      </a:r>
                      <a:endParaRPr lang="en-US" sz="1900" b="0" i="0">
                        <a:effectLst/>
                        <a:latin typeface="Calibri Light"/>
                      </a:endParaRPr>
                    </a:p>
                  </a:txBody>
                  <a:tcPr marL="81525" marR="81525" marT="40763" marB="40763" anchor="b">
                    <a:lnL w="6350" cap="flat" cmpd="sng" algn="ctr">
                      <a:solidFill>
                        <a:srgbClr val="98D505"/>
                      </a:solidFill>
                      <a:prstDash val="solid"/>
                      <a:round/>
                      <a:headEnd type="none" w="med" len="med"/>
                      <a:tailEnd type="none" w="med" len="med"/>
                    </a:lnL>
                    <a:lnR w="6350" cap="flat" cmpd="sng" algn="ctr">
                      <a:solidFill>
                        <a:srgbClr val="98D505"/>
                      </a:solidFill>
                      <a:prstDash val="solid"/>
                      <a:round/>
                      <a:headEnd type="none" w="med" len="med"/>
                      <a:tailEnd type="none" w="med" len="med"/>
                    </a:lnR>
                    <a:lnT w="6350" cap="flat" cmpd="sng" algn="ctr">
                      <a:solidFill>
                        <a:srgbClr val="98D505"/>
                      </a:solidFill>
                      <a:prstDash val="solid"/>
                      <a:round/>
                      <a:headEnd type="none" w="med" len="med"/>
                      <a:tailEnd type="none" w="med" len="med"/>
                    </a:lnT>
                    <a:lnB w="6350" cap="flat" cmpd="sng" algn="ctr">
                      <a:solidFill>
                        <a:srgbClr val="98D50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7 </a:t>
                      </a:r>
                      <a:endParaRPr lang="en-US" sz="1900" b="0" i="0">
                        <a:effectLst/>
                        <a:latin typeface="Calibri Light"/>
                      </a:endParaRPr>
                    </a:p>
                  </a:txBody>
                  <a:tcPr marL="81525" marR="81525" marT="40763" marB="40763" anchor="b">
                    <a:lnL w="6350" cap="flat" cmpd="sng" algn="ctr">
                      <a:solidFill>
                        <a:srgbClr val="98D505"/>
                      </a:solidFill>
                      <a:prstDash val="solid"/>
                      <a:round/>
                      <a:headEnd type="none" w="med" len="med"/>
                      <a:tailEnd type="none" w="med" len="med"/>
                    </a:lnL>
                    <a:lnR w="6350" cap="flat" cmpd="sng" algn="ctr">
                      <a:solidFill>
                        <a:srgbClr val="98D505"/>
                      </a:solidFill>
                      <a:prstDash val="solid"/>
                      <a:round/>
                      <a:headEnd type="none" w="med" len="med"/>
                      <a:tailEnd type="none" w="med" len="med"/>
                    </a:lnR>
                    <a:lnT w="6350" cap="flat" cmpd="sng" algn="ctr">
                      <a:solidFill>
                        <a:srgbClr val="20D505"/>
                      </a:solidFill>
                      <a:prstDash val="solid"/>
                      <a:round/>
                      <a:headEnd type="none" w="med" len="med"/>
                      <a:tailEnd type="none" w="med" len="med"/>
                    </a:lnT>
                    <a:lnB w="6350" cap="flat" cmpd="sng" algn="ctr">
                      <a:solidFill>
                        <a:srgbClr val="98D50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7 </a:t>
                      </a:r>
                      <a:endParaRPr lang="en-US" sz="1900" b="0" i="0">
                        <a:effectLst/>
                        <a:latin typeface="Calibri Light"/>
                      </a:endParaRPr>
                    </a:p>
                  </a:txBody>
                  <a:tcPr marL="81525" marR="81525" marT="40763" marB="40763" anchor="b">
                    <a:lnL w="6350" cap="flat" cmpd="sng" algn="ctr">
                      <a:solidFill>
                        <a:srgbClr val="98D505"/>
                      </a:solidFill>
                      <a:prstDash val="solid"/>
                      <a:round/>
                      <a:headEnd type="none" w="med" len="med"/>
                      <a:tailEnd type="none" w="med" len="med"/>
                    </a:lnL>
                    <a:lnR w="6350" cap="flat" cmpd="sng" algn="ctr">
                      <a:solidFill>
                        <a:srgbClr val="98D505"/>
                      </a:solidFill>
                      <a:prstDash val="solid"/>
                      <a:round/>
                      <a:headEnd type="none" w="med" len="med"/>
                      <a:tailEnd type="none" w="med" len="med"/>
                    </a:lnR>
                    <a:lnT w="6350" cap="flat" cmpd="sng" algn="ctr">
                      <a:solidFill>
                        <a:srgbClr val="98D505"/>
                      </a:solidFill>
                      <a:prstDash val="solid"/>
                      <a:round/>
                      <a:headEnd type="none" w="med" len="med"/>
                      <a:tailEnd type="none" w="med" len="med"/>
                    </a:lnT>
                    <a:lnB w="6350" cap="flat" cmpd="sng" algn="ctr">
                      <a:solidFill>
                        <a:srgbClr val="98D505"/>
                      </a:solidFill>
                      <a:prstDash val="solid"/>
                      <a:round/>
                      <a:headEnd type="none" w="med" len="med"/>
                      <a:tailEnd type="none" w="med" len="med"/>
                    </a:lnB>
                    <a:solidFill>
                      <a:srgbClr val="D0CECE"/>
                    </a:solidFill>
                  </a:tcPr>
                </a:tc>
                <a:tc>
                  <a:txBody>
                    <a:bodyPr/>
                    <a:lstStyle/>
                    <a:p>
                      <a:pPr algn="ctr" rtl="0" fontAlgn="base"/>
                      <a:r>
                        <a:rPr lang="en-US" sz="1100" b="0" i="0">
                          <a:solidFill>
                            <a:srgbClr val="000000"/>
                          </a:solidFill>
                          <a:effectLst/>
                          <a:latin typeface="Calibri Light"/>
                        </a:rPr>
                        <a:t>0.49 </a:t>
                      </a:r>
                      <a:endParaRPr lang="en-US" sz="1900" b="0" i="0">
                        <a:effectLst/>
                        <a:latin typeface="Calibri Light"/>
                      </a:endParaRPr>
                    </a:p>
                  </a:txBody>
                  <a:tcPr marL="81525" marR="81525" marT="40763" marB="40763" anchor="b">
                    <a:lnL w="6350" cap="flat" cmpd="sng" algn="ctr">
                      <a:solidFill>
                        <a:srgbClr val="98D505"/>
                      </a:solidFill>
                      <a:prstDash val="solid"/>
                      <a:round/>
                      <a:headEnd type="none" w="med" len="med"/>
                      <a:tailEnd type="none" w="med" len="med"/>
                    </a:lnL>
                    <a:lnR w="6350" cap="flat" cmpd="sng" algn="ctr">
                      <a:solidFill>
                        <a:srgbClr val="98D505"/>
                      </a:solidFill>
                      <a:prstDash val="solid"/>
                      <a:round/>
                      <a:headEnd type="none" w="med" len="med"/>
                      <a:tailEnd type="none" w="med" len="med"/>
                    </a:lnR>
                    <a:lnT w="6350" cap="flat" cmpd="sng" algn="ctr">
                      <a:solidFill>
                        <a:srgbClr val="98D505"/>
                      </a:solidFill>
                      <a:prstDash val="solid"/>
                      <a:round/>
                      <a:headEnd type="none" w="med" len="med"/>
                      <a:tailEnd type="none" w="med" len="med"/>
                    </a:lnT>
                    <a:lnB w="6350" cap="flat" cmpd="sng" algn="ctr">
                      <a:solidFill>
                        <a:srgbClr val="98D505"/>
                      </a:solidFill>
                      <a:prstDash val="solid"/>
                      <a:round/>
                      <a:headEnd type="none" w="med" len="med"/>
                      <a:tailEnd type="none" w="med" len="med"/>
                    </a:lnB>
                    <a:solidFill>
                      <a:srgbClr val="D0CECE"/>
                    </a:solidFill>
                  </a:tcPr>
                </a:tc>
                <a:tc>
                  <a:txBody>
                    <a:bodyPr/>
                    <a:lstStyle/>
                    <a:p>
                      <a:pPr algn="ctr" rtl="0" fontAlgn="base"/>
                      <a:r>
                        <a:rPr lang="en-US" sz="1100" b="1" i="0">
                          <a:solidFill>
                            <a:srgbClr val="FFFFFF"/>
                          </a:solidFill>
                          <a:effectLst/>
                          <a:latin typeface="Calibri Light"/>
                        </a:rPr>
                        <a:t>High</a:t>
                      </a:r>
                      <a:r>
                        <a:rPr lang="en-US" sz="1100" b="0" i="0">
                          <a:solidFill>
                            <a:srgbClr val="FFFFFF"/>
                          </a:solidFill>
                          <a:effectLst/>
                          <a:latin typeface="Calibri Light"/>
                        </a:rPr>
                        <a:t> </a:t>
                      </a:r>
                      <a:endParaRPr lang="en-US" sz="1900" b="0" i="0">
                        <a:effectLst/>
                        <a:latin typeface="Calibri Light"/>
                      </a:endParaRPr>
                    </a:p>
                  </a:txBody>
                  <a:tcPr marL="81525" marR="81525" marT="40763" marB="40763" anchor="b">
                    <a:lnL w="6350" cap="flat" cmpd="sng" algn="ctr">
                      <a:solidFill>
                        <a:srgbClr val="98D505"/>
                      </a:solidFill>
                      <a:prstDash val="solid"/>
                      <a:round/>
                      <a:headEnd type="none" w="med" len="med"/>
                      <a:tailEnd type="none" w="med" len="med"/>
                    </a:lnL>
                    <a:lnR w="6350" cap="flat" cmpd="sng" algn="ctr">
                      <a:solidFill>
                        <a:srgbClr val="98D505"/>
                      </a:solidFill>
                      <a:prstDash val="solid"/>
                      <a:round/>
                      <a:headEnd type="none" w="med" len="med"/>
                      <a:tailEnd type="none" w="med" len="med"/>
                    </a:lnR>
                    <a:lnT w="6350" cap="flat" cmpd="sng" algn="ctr">
                      <a:solidFill>
                        <a:srgbClr val="98D505"/>
                      </a:solidFill>
                      <a:prstDash val="solid"/>
                      <a:round/>
                      <a:headEnd type="none" w="med" len="med"/>
                      <a:tailEnd type="none" w="med" len="med"/>
                    </a:lnT>
                    <a:lnB w="6350" cap="flat" cmpd="sng" algn="ctr">
                      <a:solidFill>
                        <a:srgbClr val="98D505"/>
                      </a:solidFill>
                      <a:prstDash val="solid"/>
                      <a:round/>
                      <a:headEnd type="none" w="med" len="med"/>
                      <a:tailEnd type="none" w="med" len="med"/>
                    </a:lnB>
                    <a:solidFill>
                      <a:srgbClr val="C00000"/>
                    </a:solidFill>
                  </a:tcPr>
                </a:tc>
                <a:extLst>
                  <a:ext uri="{0D108BD9-81ED-4DB2-BD59-A6C34878D82A}">
                    <a16:rowId xmlns:a16="http://schemas.microsoft.com/office/drawing/2014/main" val="2949241917"/>
                  </a:ext>
                </a:extLst>
              </a:tr>
            </a:tbl>
          </a:graphicData>
        </a:graphic>
      </p:graphicFrame>
    </p:spTree>
    <p:extLst>
      <p:ext uri="{BB962C8B-B14F-4D97-AF65-F5344CB8AC3E}">
        <p14:creationId xmlns:p14="http://schemas.microsoft.com/office/powerpoint/2010/main" val="41807343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9E2897C-52AE-4686-B581-76EEEC3B40B7}"/>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4000" b="1">
                <a:solidFill>
                  <a:schemeClr val="bg1"/>
                </a:solidFill>
              </a:rPr>
              <a:t>PROJECT</a:t>
            </a:r>
            <a:r>
              <a:rPr lang="en-US" sz="4000" b="1" kern="1200">
                <a:solidFill>
                  <a:schemeClr val="bg1"/>
                </a:solidFill>
                <a:latin typeface="+mj-lt"/>
                <a:ea typeface="+mj-ea"/>
                <a:cs typeface="+mj-cs"/>
              </a:rPr>
              <a:t> </a:t>
            </a:r>
            <a:r>
              <a:rPr lang="en-US" sz="4000" b="1">
                <a:solidFill>
                  <a:schemeClr val="bg1"/>
                </a:solidFill>
              </a:rPr>
              <a:t>BUDGET </a:t>
            </a:r>
            <a:endParaRPr lang="en-US" sz="4000" b="1" kern="1200">
              <a:solidFill>
                <a:schemeClr val="bg1"/>
              </a:solidFill>
              <a:latin typeface="+mj-lt"/>
              <a:cs typeface="Calibri Light"/>
            </a:endParaRPr>
          </a:p>
        </p:txBody>
      </p:sp>
      <p:graphicFrame>
        <p:nvGraphicFramePr>
          <p:cNvPr id="4" name="Content Placeholder 3">
            <a:extLst>
              <a:ext uri="{FF2B5EF4-FFF2-40B4-BE49-F238E27FC236}">
                <a16:creationId xmlns:a16="http://schemas.microsoft.com/office/drawing/2014/main" id="{287D5891-C110-4D15-9C32-61633027EFAF}"/>
              </a:ext>
            </a:extLst>
          </p:cNvPr>
          <p:cNvGraphicFramePr>
            <a:graphicFrameLocks noGrp="1"/>
          </p:cNvGraphicFramePr>
          <p:nvPr>
            <p:ph idx="1"/>
            <p:extLst>
              <p:ext uri="{D42A27DB-BD31-4B8C-83A1-F6EECF244321}">
                <p14:modId xmlns:p14="http://schemas.microsoft.com/office/powerpoint/2010/main" val="2267470769"/>
              </p:ext>
            </p:extLst>
          </p:nvPr>
        </p:nvGraphicFramePr>
        <p:xfrm>
          <a:off x="1653923" y="1675227"/>
          <a:ext cx="8884156" cy="4394201"/>
        </p:xfrm>
        <a:graphic>
          <a:graphicData uri="http://schemas.openxmlformats.org/drawingml/2006/table">
            <a:tbl>
              <a:tblPr firstRow="1" bandRow="1">
                <a:tableStyleId>{72833802-FEF1-4C79-8D5D-14CF1EAF98D9}</a:tableStyleId>
              </a:tblPr>
              <a:tblGrid>
                <a:gridCol w="1631342">
                  <a:extLst>
                    <a:ext uri="{9D8B030D-6E8A-4147-A177-3AD203B41FA5}">
                      <a16:colId xmlns:a16="http://schemas.microsoft.com/office/drawing/2014/main" val="2512661895"/>
                    </a:ext>
                  </a:extLst>
                </a:gridCol>
                <a:gridCol w="2262638">
                  <a:extLst>
                    <a:ext uri="{9D8B030D-6E8A-4147-A177-3AD203B41FA5}">
                      <a16:colId xmlns:a16="http://schemas.microsoft.com/office/drawing/2014/main" val="2282487381"/>
                    </a:ext>
                  </a:extLst>
                </a:gridCol>
                <a:gridCol w="1803730">
                  <a:extLst>
                    <a:ext uri="{9D8B030D-6E8A-4147-A177-3AD203B41FA5}">
                      <a16:colId xmlns:a16="http://schemas.microsoft.com/office/drawing/2014/main" val="2078949047"/>
                    </a:ext>
                  </a:extLst>
                </a:gridCol>
                <a:gridCol w="1505276">
                  <a:extLst>
                    <a:ext uri="{9D8B030D-6E8A-4147-A177-3AD203B41FA5}">
                      <a16:colId xmlns:a16="http://schemas.microsoft.com/office/drawing/2014/main" val="3926117385"/>
                    </a:ext>
                  </a:extLst>
                </a:gridCol>
                <a:gridCol w="1681170">
                  <a:extLst>
                    <a:ext uri="{9D8B030D-6E8A-4147-A177-3AD203B41FA5}">
                      <a16:colId xmlns:a16="http://schemas.microsoft.com/office/drawing/2014/main" val="3200880797"/>
                    </a:ext>
                  </a:extLst>
                </a:gridCol>
              </a:tblGrid>
              <a:tr h="786328">
                <a:tc>
                  <a:txBody>
                    <a:bodyPr/>
                    <a:lstStyle/>
                    <a:p>
                      <a:pPr algn="ctr" rtl="0" fontAlgn="base"/>
                      <a:r>
                        <a:rPr lang="en-US" sz="2100" cap="none" spc="30">
                          <a:effectLst/>
                        </a:rPr>
                        <a:t>Task </a:t>
                      </a:r>
                    </a:p>
                  </a:txBody>
                  <a:tcPr marL="0" marR="12248" marT="49392" marB="49392" anchor="ctr"/>
                </a:tc>
                <a:tc>
                  <a:txBody>
                    <a:bodyPr/>
                    <a:lstStyle/>
                    <a:p>
                      <a:pPr algn="ctr" rtl="0" fontAlgn="base"/>
                      <a:r>
                        <a:rPr lang="en-US" sz="2100" cap="none" spc="30">
                          <a:effectLst/>
                        </a:rPr>
                        <a:t>Activity </a:t>
                      </a:r>
                    </a:p>
                  </a:txBody>
                  <a:tcPr marL="0" marR="12248" marT="49392" marB="49392" anchor="ctr"/>
                </a:tc>
                <a:tc>
                  <a:txBody>
                    <a:bodyPr/>
                    <a:lstStyle/>
                    <a:p>
                      <a:pPr algn="ctr" rtl="0" fontAlgn="base"/>
                      <a:r>
                        <a:rPr lang="en-US" sz="2100" cap="none" spc="30">
                          <a:effectLst/>
                        </a:rPr>
                        <a:t>Direct Cost </a:t>
                      </a:r>
                    </a:p>
                  </a:txBody>
                  <a:tcPr marL="0" marR="12248" marT="49392" marB="49392" anchor="ctr"/>
                </a:tc>
                <a:tc>
                  <a:txBody>
                    <a:bodyPr/>
                    <a:lstStyle/>
                    <a:p>
                      <a:pPr algn="ctr" rtl="0" fontAlgn="base"/>
                      <a:r>
                        <a:rPr lang="en-US" sz="2100" cap="none" spc="30">
                          <a:effectLst/>
                        </a:rPr>
                        <a:t>Overhead Cost </a:t>
                      </a:r>
                    </a:p>
                  </a:txBody>
                  <a:tcPr marL="0" marR="12248" marT="49392" marB="49392" anchor="ctr"/>
                </a:tc>
                <a:tc>
                  <a:txBody>
                    <a:bodyPr/>
                    <a:lstStyle/>
                    <a:p>
                      <a:pPr algn="l" rtl="0" fontAlgn="base"/>
                      <a:r>
                        <a:rPr lang="en-US" sz="2100" cap="none" spc="30">
                          <a:effectLst/>
                        </a:rPr>
                        <a:t>Total Cost </a:t>
                      </a:r>
                    </a:p>
                  </a:txBody>
                  <a:tcPr marL="0" marR="12248" marT="49392" marB="49392" anchor="ctr"/>
                </a:tc>
                <a:extLst>
                  <a:ext uri="{0D108BD9-81ED-4DB2-BD59-A6C34878D82A}">
                    <a16:rowId xmlns:a16="http://schemas.microsoft.com/office/drawing/2014/main" val="1359860521"/>
                  </a:ext>
                </a:extLst>
              </a:tr>
              <a:tr h="643090">
                <a:tc>
                  <a:txBody>
                    <a:bodyPr/>
                    <a:lstStyle/>
                    <a:p>
                      <a:pPr algn="ctr" rtl="0" fontAlgn="base"/>
                      <a:r>
                        <a:rPr lang="en-US" sz="1600" cap="none" spc="0">
                          <a:effectLst/>
                        </a:rPr>
                        <a:t>1 </a:t>
                      </a:r>
                    </a:p>
                  </a:txBody>
                  <a:tcPr marL="0" marR="98782" marT="49392" marB="49392"/>
                </a:tc>
                <a:tc>
                  <a:txBody>
                    <a:bodyPr/>
                    <a:lstStyle/>
                    <a:p>
                      <a:pPr algn="ctr" rtl="0" fontAlgn="base"/>
                      <a:r>
                        <a:rPr lang="en-US" sz="1600" cap="none" spc="0">
                          <a:effectLst/>
                        </a:rPr>
                        <a:t>Phase1(Requirement Gathering) </a:t>
                      </a:r>
                    </a:p>
                  </a:txBody>
                  <a:tcPr marL="0" marR="98782" marT="49392" marB="49392"/>
                </a:tc>
                <a:tc>
                  <a:txBody>
                    <a:bodyPr/>
                    <a:lstStyle/>
                    <a:p>
                      <a:pPr algn="ctr" rtl="0" fontAlgn="base"/>
                      <a:r>
                        <a:rPr lang="en-US" sz="1600" cap="none" spc="0">
                          <a:effectLst/>
                        </a:rPr>
                        <a:t>$150,000 </a:t>
                      </a:r>
                    </a:p>
                  </a:txBody>
                  <a:tcPr marL="0" marR="98782" marT="49392" marB="49392"/>
                </a:tc>
                <a:tc>
                  <a:txBody>
                    <a:bodyPr/>
                    <a:lstStyle/>
                    <a:p>
                      <a:pPr algn="ctr" rtl="0" fontAlgn="base"/>
                      <a:r>
                        <a:rPr lang="en-US" sz="1600" cap="none" spc="0">
                          <a:effectLst/>
                        </a:rPr>
                        <a:t>$100,000 </a:t>
                      </a:r>
                    </a:p>
                  </a:txBody>
                  <a:tcPr marL="0" marR="98782" marT="49392" marB="49392"/>
                </a:tc>
                <a:tc>
                  <a:txBody>
                    <a:bodyPr/>
                    <a:lstStyle/>
                    <a:p>
                      <a:pPr algn="l" rtl="0" fontAlgn="base"/>
                      <a:r>
                        <a:rPr lang="en-US" sz="1600" cap="none" spc="0">
                          <a:effectLst/>
                        </a:rPr>
                        <a:t>$250,000 </a:t>
                      </a:r>
                    </a:p>
                  </a:txBody>
                  <a:tcPr marL="0" marR="98782" marT="49392" marB="49392"/>
                </a:tc>
                <a:extLst>
                  <a:ext uri="{0D108BD9-81ED-4DB2-BD59-A6C34878D82A}">
                    <a16:rowId xmlns:a16="http://schemas.microsoft.com/office/drawing/2014/main" val="218472759"/>
                  </a:ext>
                </a:extLst>
              </a:tr>
              <a:tr h="643090">
                <a:tc>
                  <a:txBody>
                    <a:bodyPr/>
                    <a:lstStyle/>
                    <a:p>
                      <a:pPr algn="ctr" rtl="0" fontAlgn="base"/>
                      <a:r>
                        <a:rPr lang="en-US" sz="1600" cap="none" spc="0">
                          <a:effectLst/>
                        </a:rPr>
                        <a:t>2 </a:t>
                      </a:r>
                    </a:p>
                  </a:txBody>
                  <a:tcPr marL="61237" marR="98782" marT="49392" marB="49392"/>
                </a:tc>
                <a:tc>
                  <a:txBody>
                    <a:bodyPr/>
                    <a:lstStyle/>
                    <a:p>
                      <a:pPr algn="ctr" rtl="0" fontAlgn="base"/>
                      <a:r>
                        <a:rPr lang="en-US" sz="1600" cap="none" spc="0">
                          <a:effectLst/>
                        </a:rPr>
                        <a:t>Phase 2 (System Plan &amp; Design) </a:t>
                      </a:r>
                    </a:p>
                  </a:txBody>
                  <a:tcPr marL="61237" marR="98782" marT="49392" marB="49392"/>
                </a:tc>
                <a:tc>
                  <a:txBody>
                    <a:bodyPr/>
                    <a:lstStyle/>
                    <a:p>
                      <a:pPr algn="ctr" rtl="0" fontAlgn="base"/>
                      <a:r>
                        <a:rPr lang="en-US" sz="1600" cap="none" spc="0">
                          <a:effectLst/>
                        </a:rPr>
                        <a:t>$160,000 </a:t>
                      </a:r>
                    </a:p>
                  </a:txBody>
                  <a:tcPr marL="61237" marR="98782" marT="49392" marB="49392"/>
                </a:tc>
                <a:tc>
                  <a:txBody>
                    <a:bodyPr/>
                    <a:lstStyle/>
                    <a:p>
                      <a:pPr algn="ctr" rtl="0" fontAlgn="base"/>
                      <a:r>
                        <a:rPr lang="en-US" sz="1600" cap="none" spc="0">
                          <a:effectLst/>
                        </a:rPr>
                        <a:t>$140,000 </a:t>
                      </a:r>
                    </a:p>
                  </a:txBody>
                  <a:tcPr marL="61237" marR="98782" marT="49392" marB="49392"/>
                </a:tc>
                <a:tc>
                  <a:txBody>
                    <a:bodyPr/>
                    <a:lstStyle/>
                    <a:p>
                      <a:pPr algn="l" rtl="0" fontAlgn="base"/>
                      <a:r>
                        <a:rPr lang="en-US" sz="1600" cap="none" spc="0">
                          <a:effectLst/>
                        </a:rPr>
                        <a:t>$300,000 </a:t>
                      </a:r>
                    </a:p>
                  </a:txBody>
                  <a:tcPr marL="61237" marR="98782" marT="49392" marB="49392"/>
                </a:tc>
                <a:extLst>
                  <a:ext uri="{0D108BD9-81ED-4DB2-BD59-A6C34878D82A}">
                    <a16:rowId xmlns:a16="http://schemas.microsoft.com/office/drawing/2014/main" val="1312380273"/>
                  </a:ext>
                </a:extLst>
              </a:tr>
              <a:tr h="643090">
                <a:tc>
                  <a:txBody>
                    <a:bodyPr/>
                    <a:lstStyle/>
                    <a:p>
                      <a:pPr algn="ctr" rtl="0" fontAlgn="base"/>
                      <a:r>
                        <a:rPr lang="en-US" sz="1600" cap="none" spc="0">
                          <a:effectLst/>
                        </a:rPr>
                        <a:t>3 </a:t>
                      </a:r>
                    </a:p>
                  </a:txBody>
                  <a:tcPr marL="0" marR="98782" marT="49392" marB="49392"/>
                </a:tc>
                <a:tc>
                  <a:txBody>
                    <a:bodyPr/>
                    <a:lstStyle/>
                    <a:p>
                      <a:pPr algn="ctr" rtl="0" fontAlgn="base"/>
                      <a:r>
                        <a:rPr lang="en-US" sz="1600" cap="none" spc="0">
                          <a:effectLst/>
                        </a:rPr>
                        <a:t>Phase 3 (System Development) </a:t>
                      </a:r>
                    </a:p>
                  </a:txBody>
                  <a:tcPr marL="0" marR="98782" marT="49392" marB="49392"/>
                </a:tc>
                <a:tc>
                  <a:txBody>
                    <a:bodyPr/>
                    <a:lstStyle/>
                    <a:p>
                      <a:pPr algn="ctr" rtl="0" fontAlgn="base"/>
                      <a:r>
                        <a:rPr lang="en-US" sz="1600" cap="none" spc="0">
                          <a:effectLst/>
                        </a:rPr>
                        <a:t>$170,000 </a:t>
                      </a:r>
                    </a:p>
                  </a:txBody>
                  <a:tcPr marL="0" marR="98782" marT="49392" marB="49392"/>
                </a:tc>
                <a:tc>
                  <a:txBody>
                    <a:bodyPr/>
                    <a:lstStyle/>
                    <a:p>
                      <a:pPr algn="ctr" rtl="0" fontAlgn="base"/>
                      <a:r>
                        <a:rPr lang="en-US" sz="1600" cap="none" spc="0">
                          <a:effectLst/>
                        </a:rPr>
                        <a:t>$130,000 </a:t>
                      </a:r>
                    </a:p>
                  </a:txBody>
                  <a:tcPr marL="0" marR="98782" marT="49392" marB="49392"/>
                </a:tc>
                <a:tc>
                  <a:txBody>
                    <a:bodyPr/>
                    <a:lstStyle/>
                    <a:p>
                      <a:pPr algn="l" rtl="0" fontAlgn="base"/>
                      <a:r>
                        <a:rPr lang="en-US" sz="1600" cap="none" spc="0">
                          <a:effectLst/>
                        </a:rPr>
                        <a:t>$320,000 </a:t>
                      </a:r>
                    </a:p>
                  </a:txBody>
                  <a:tcPr marL="0" marR="98782" marT="49392" marB="49392"/>
                </a:tc>
                <a:extLst>
                  <a:ext uri="{0D108BD9-81ED-4DB2-BD59-A6C34878D82A}">
                    <a16:rowId xmlns:a16="http://schemas.microsoft.com/office/drawing/2014/main" val="409302490"/>
                  </a:ext>
                </a:extLst>
              </a:tr>
              <a:tr h="643090">
                <a:tc>
                  <a:txBody>
                    <a:bodyPr/>
                    <a:lstStyle/>
                    <a:p>
                      <a:pPr algn="ctr" rtl="0" fontAlgn="base"/>
                      <a:r>
                        <a:rPr lang="en-US" sz="1600" cap="none" spc="0">
                          <a:effectLst/>
                        </a:rPr>
                        <a:t>4 </a:t>
                      </a:r>
                    </a:p>
                  </a:txBody>
                  <a:tcPr marL="61237" marR="98782" marT="49392" marB="49392"/>
                </a:tc>
                <a:tc>
                  <a:txBody>
                    <a:bodyPr/>
                    <a:lstStyle/>
                    <a:p>
                      <a:pPr algn="ctr" rtl="0" fontAlgn="base"/>
                      <a:r>
                        <a:rPr lang="en-US" sz="1600" cap="none" spc="0">
                          <a:effectLst/>
                        </a:rPr>
                        <a:t>Phase 4 (Testing &amp;Implementation) </a:t>
                      </a:r>
                    </a:p>
                  </a:txBody>
                  <a:tcPr marL="61237" marR="98782" marT="49392" marB="49392"/>
                </a:tc>
                <a:tc>
                  <a:txBody>
                    <a:bodyPr/>
                    <a:lstStyle/>
                    <a:p>
                      <a:pPr algn="ctr" rtl="0" fontAlgn="base"/>
                      <a:r>
                        <a:rPr lang="en-US" sz="1600" cap="none" spc="0">
                          <a:effectLst/>
                        </a:rPr>
                        <a:t>$190,000 </a:t>
                      </a:r>
                    </a:p>
                  </a:txBody>
                  <a:tcPr marL="61237" marR="98782" marT="49392" marB="49392"/>
                </a:tc>
                <a:tc>
                  <a:txBody>
                    <a:bodyPr/>
                    <a:lstStyle/>
                    <a:p>
                      <a:pPr algn="ctr" rtl="0" fontAlgn="base"/>
                      <a:r>
                        <a:rPr lang="en-US" sz="1600" cap="none" spc="0">
                          <a:effectLst/>
                        </a:rPr>
                        <a:t>$160,000 </a:t>
                      </a:r>
                    </a:p>
                  </a:txBody>
                  <a:tcPr marL="61237" marR="98782" marT="49392" marB="49392"/>
                </a:tc>
                <a:tc>
                  <a:txBody>
                    <a:bodyPr/>
                    <a:lstStyle/>
                    <a:p>
                      <a:pPr algn="l" rtl="0" fontAlgn="base"/>
                      <a:r>
                        <a:rPr lang="en-US" sz="1600" cap="none" spc="0">
                          <a:effectLst/>
                        </a:rPr>
                        <a:t>$350,000 </a:t>
                      </a:r>
                    </a:p>
                  </a:txBody>
                  <a:tcPr marL="61237" marR="98782" marT="49392" marB="49392"/>
                </a:tc>
                <a:extLst>
                  <a:ext uri="{0D108BD9-81ED-4DB2-BD59-A6C34878D82A}">
                    <a16:rowId xmlns:a16="http://schemas.microsoft.com/office/drawing/2014/main" val="2828486344"/>
                  </a:ext>
                </a:extLst>
              </a:tr>
              <a:tr h="643090">
                <a:tc>
                  <a:txBody>
                    <a:bodyPr/>
                    <a:lstStyle/>
                    <a:p>
                      <a:pPr algn="ctr" rtl="0" fontAlgn="base"/>
                      <a:r>
                        <a:rPr lang="en-US" sz="1600" cap="none" spc="0">
                          <a:effectLst/>
                        </a:rPr>
                        <a:t>5 </a:t>
                      </a:r>
                    </a:p>
                  </a:txBody>
                  <a:tcPr marL="0" marR="98782" marT="49392" marB="49392"/>
                </a:tc>
                <a:tc>
                  <a:txBody>
                    <a:bodyPr/>
                    <a:lstStyle/>
                    <a:p>
                      <a:pPr algn="ctr" rtl="0" fontAlgn="base"/>
                      <a:r>
                        <a:rPr lang="en-US" sz="1600" cap="none" spc="0">
                          <a:effectLst/>
                        </a:rPr>
                        <a:t>Phase 5 (System Deployment) </a:t>
                      </a:r>
                    </a:p>
                  </a:txBody>
                  <a:tcPr marL="0" marR="98782" marT="49392" marB="49392"/>
                </a:tc>
                <a:tc>
                  <a:txBody>
                    <a:bodyPr/>
                    <a:lstStyle/>
                    <a:p>
                      <a:pPr algn="ctr" rtl="0" fontAlgn="base"/>
                      <a:r>
                        <a:rPr lang="en-US" sz="1600" cap="none" spc="0">
                          <a:effectLst/>
                        </a:rPr>
                        <a:t>$150,000 </a:t>
                      </a:r>
                    </a:p>
                  </a:txBody>
                  <a:tcPr marL="0" marR="98782" marT="49392" marB="49392"/>
                </a:tc>
                <a:tc>
                  <a:txBody>
                    <a:bodyPr/>
                    <a:lstStyle/>
                    <a:p>
                      <a:pPr algn="ctr" rtl="0" fontAlgn="base"/>
                      <a:r>
                        <a:rPr lang="en-US" sz="1600" cap="none" spc="0">
                          <a:effectLst/>
                        </a:rPr>
                        <a:t>$130,000 </a:t>
                      </a:r>
                    </a:p>
                  </a:txBody>
                  <a:tcPr marL="0" marR="98782" marT="49392" marB="49392"/>
                </a:tc>
                <a:tc>
                  <a:txBody>
                    <a:bodyPr/>
                    <a:lstStyle/>
                    <a:p>
                      <a:pPr algn="l" rtl="0" fontAlgn="base"/>
                      <a:r>
                        <a:rPr lang="en-US" sz="1600" cap="none" spc="0">
                          <a:effectLst/>
                        </a:rPr>
                        <a:t>$280,000 </a:t>
                      </a:r>
                    </a:p>
                  </a:txBody>
                  <a:tcPr marL="0" marR="98782" marT="49392" marB="49392"/>
                </a:tc>
                <a:extLst>
                  <a:ext uri="{0D108BD9-81ED-4DB2-BD59-A6C34878D82A}">
                    <a16:rowId xmlns:a16="http://schemas.microsoft.com/office/drawing/2014/main" val="2761518757"/>
                  </a:ext>
                </a:extLst>
              </a:tr>
              <a:tr h="392423">
                <a:tc>
                  <a:txBody>
                    <a:bodyPr/>
                    <a:lstStyle/>
                    <a:p>
                      <a:pPr algn="ctr" rtl="0" fontAlgn="base"/>
                      <a:r>
                        <a:rPr lang="en-US" sz="1600" cap="none" spc="0">
                          <a:effectLst/>
                        </a:rPr>
                        <a:t>Project Total: </a:t>
                      </a:r>
                    </a:p>
                  </a:txBody>
                  <a:tcPr marL="61237" marR="98782" marT="49392" marB="49392"/>
                </a:tc>
                <a:tc>
                  <a:txBody>
                    <a:bodyPr/>
                    <a:lstStyle/>
                    <a:p>
                      <a:pPr algn="ctr" rtl="0" fontAlgn="base"/>
                      <a:r>
                        <a:rPr lang="en-US" sz="1600" cap="none" spc="0">
                          <a:effectLst/>
                        </a:rPr>
                        <a:t>  </a:t>
                      </a:r>
                    </a:p>
                  </a:txBody>
                  <a:tcPr marL="61237" marR="98782" marT="49392" marB="49392"/>
                </a:tc>
                <a:tc>
                  <a:txBody>
                    <a:bodyPr/>
                    <a:lstStyle/>
                    <a:p>
                      <a:pPr algn="l" rtl="0" fontAlgn="base"/>
                      <a:endParaRPr lang="en-US" sz="1600" cap="none" spc="0">
                        <a:effectLst/>
                      </a:endParaRPr>
                    </a:p>
                  </a:txBody>
                  <a:tcPr marL="61237" marR="98782" marT="49392" marB="49392"/>
                </a:tc>
                <a:tc>
                  <a:txBody>
                    <a:bodyPr/>
                    <a:lstStyle/>
                    <a:p>
                      <a:pPr algn="l" rtl="0" fontAlgn="base"/>
                      <a:endParaRPr lang="en-US" sz="1600" cap="none" spc="0">
                        <a:effectLst/>
                      </a:endParaRPr>
                    </a:p>
                  </a:txBody>
                  <a:tcPr marL="61237" marR="98782" marT="49392" marB="49392"/>
                </a:tc>
                <a:tc>
                  <a:txBody>
                    <a:bodyPr/>
                    <a:lstStyle/>
                    <a:p>
                      <a:pPr algn="l" rtl="0" fontAlgn="base"/>
                      <a:r>
                        <a:rPr lang="en-US" sz="1600" cap="none" spc="0">
                          <a:effectLst/>
                        </a:rPr>
                        <a:t>$ 1,500,000 </a:t>
                      </a:r>
                    </a:p>
                  </a:txBody>
                  <a:tcPr marL="61237" marR="98782" marT="49392" marB="49392"/>
                </a:tc>
                <a:extLst>
                  <a:ext uri="{0D108BD9-81ED-4DB2-BD59-A6C34878D82A}">
                    <a16:rowId xmlns:a16="http://schemas.microsoft.com/office/drawing/2014/main" val="2672165008"/>
                  </a:ext>
                </a:extLst>
              </a:tr>
            </a:tbl>
          </a:graphicData>
        </a:graphic>
      </p:graphicFrame>
    </p:spTree>
    <p:extLst>
      <p:ext uri="{BB962C8B-B14F-4D97-AF65-F5344CB8AC3E}">
        <p14:creationId xmlns:p14="http://schemas.microsoft.com/office/powerpoint/2010/main" val="7207752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DACF5-41E2-4BCD-8876-63E7F6799FCE}"/>
              </a:ext>
            </a:extLst>
          </p:cNvPr>
          <p:cNvSpPr>
            <a:spLocks noGrp="1"/>
          </p:cNvSpPr>
          <p:nvPr>
            <p:ph type="title"/>
          </p:nvPr>
        </p:nvSpPr>
        <p:spPr>
          <a:xfrm>
            <a:off x="535064" y="711701"/>
            <a:ext cx="6121400" cy="1115106"/>
          </a:xfrm>
        </p:spPr>
        <p:txBody>
          <a:bodyPr>
            <a:normAutofit fontScale="90000"/>
          </a:bodyPr>
          <a:lstStyle/>
          <a:p>
            <a:pPr marL="0" marR="0" indent="0" defTabSz="914400" rtl="0" eaLnBrk="1" fontAlgn="auto" latinLnBrk="0" hangingPunct="1">
              <a:lnSpc>
                <a:spcPct val="100000"/>
              </a:lnSpc>
              <a:spcBef>
                <a:spcPts val="0"/>
              </a:spcBef>
              <a:spcAft>
                <a:spcPts val="0"/>
              </a:spcAft>
              <a:tabLst/>
              <a:defRPr/>
            </a:pPr>
            <a:r>
              <a:rPr lang="en-US" sz="1800" b="1" cap="all">
                <a:solidFill>
                  <a:schemeClr val="accent1"/>
                </a:solidFill>
                <a:latin typeface="Calibri Light"/>
                <a:ea typeface="+mn-ea"/>
                <a:cs typeface="Times New Roman"/>
              </a:rPr>
              <a:t>Percentage </a:t>
            </a:r>
            <a:r>
              <a:rPr lang="en-US" sz="1800" b="1" i="0" u="none" strike="noStrike" cap="all" baseline="0">
                <a:solidFill>
                  <a:schemeClr val="accent1"/>
                </a:solidFill>
                <a:latin typeface="Calibri Light"/>
                <a:ea typeface="+mn-ea"/>
                <a:cs typeface="Times New Roman"/>
              </a:rPr>
              <a:t>Complete</a:t>
            </a:r>
            <a:br>
              <a:rPr lang="en-US" sz="1800" b="0" i="0" u="none" strike="noStrike" cap="all" baseline="0">
                <a:latin typeface="Calibri Light"/>
                <a:ea typeface="+mn-ea"/>
                <a:cs typeface="Times New Roman" panose="02020603050405020304" pitchFamily="18" charset="0"/>
              </a:rPr>
            </a:br>
            <a:r>
              <a:rPr lang="en-US" sz="1800">
                <a:latin typeface="Calibri Light"/>
                <a:cs typeface="Times New Roman"/>
              </a:rPr>
              <a:t>Status for all top-level tasks. To see the status for subtasks, click on the chart and update the outline level in the Field List.</a:t>
            </a:r>
            <a:br>
              <a:rPr lang="en-US" sz="1800">
                <a:latin typeface="Times New Roman" panose="02020603050405020304" pitchFamily="18" charset="0"/>
                <a:cs typeface="Times New Roman" panose="02020603050405020304" pitchFamily="18" charset="0"/>
              </a:rPr>
            </a:br>
            <a:endParaRPr lang="en-US" sz="1800">
              <a:latin typeface="Times New Roman" panose="02020603050405020304" pitchFamily="18" charset="0"/>
              <a:cs typeface="Times New Roman" panose="02020603050405020304" pitchFamily="18" charset="0"/>
            </a:endParaRPr>
          </a:p>
        </p:txBody>
      </p:sp>
      <p:graphicFrame>
        <p:nvGraphicFramePr>
          <p:cNvPr id="4" name="Content Placeholder 3">
            <a:extLst>
              <a:ext uri="{FF2B5EF4-FFF2-40B4-BE49-F238E27FC236}">
                <a16:creationId xmlns:a16="http://schemas.microsoft.com/office/drawing/2014/main" id="{A64C5330-605E-4B15-87B1-5DD2FC8E389A}"/>
              </a:ext>
            </a:extLst>
          </p:cNvPr>
          <p:cNvGraphicFramePr>
            <a:graphicFrameLocks noGrp="1"/>
          </p:cNvGraphicFramePr>
          <p:nvPr>
            <p:ph idx="1"/>
            <p:extLst>
              <p:ext uri="{D42A27DB-BD31-4B8C-83A1-F6EECF244321}">
                <p14:modId xmlns:p14="http://schemas.microsoft.com/office/powerpoint/2010/main" val="979640024"/>
              </p:ext>
            </p:extLst>
          </p:nvPr>
        </p:nvGraphicFramePr>
        <p:xfrm>
          <a:off x="410605" y="1825625"/>
          <a:ext cx="6242443" cy="47328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74D4DE73-7EF6-4695-8925-9EB87F3B2328}"/>
              </a:ext>
            </a:extLst>
          </p:cNvPr>
          <p:cNvGraphicFramePr>
            <a:graphicFrameLocks noGrp="1"/>
          </p:cNvGraphicFramePr>
          <p:nvPr>
            <p:extLst>
              <p:ext uri="{D42A27DB-BD31-4B8C-83A1-F6EECF244321}">
                <p14:modId xmlns:p14="http://schemas.microsoft.com/office/powerpoint/2010/main" val="3243486875"/>
              </p:ext>
            </p:extLst>
          </p:nvPr>
        </p:nvGraphicFramePr>
        <p:xfrm>
          <a:off x="6789682" y="1095579"/>
          <a:ext cx="4991713" cy="52001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a:extLst>
              <a:ext uri="{FF2B5EF4-FFF2-40B4-BE49-F238E27FC236}">
                <a16:creationId xmlns:a16="http://schemas.microsoft.com/office/drawing/2014/main" id="{F66B2361-25E9-4F36-BAA9-22594DE7EB64}"/>
              </a:ext>
            </a:extLst>
          </p:cNvPr>
          <p:cNvGraphicFramePr>
            <a:graphicFrameLocks noGrp="1"/>
          </p:cNvGraphicFramePr>
          <p:nvPr>
            <p:extLst>
              <p:ext uri="{D42A27DB-BD31-4B8C-83A1-F6EECF244321}">
                <p14:modId xmlns:p14="http://schemas.microsoft.com/office/powerpoint/2010/main" val="2299291657"/>
              </p:ext>
            </p:extLst>
          </p:nvPr>
        </p:nvGraphicFramePr>
        <p:xfrm>
          <a:off x="7040266" y="1741538"/>
          <a:ext cx="4805286" cy="4906251"/>
        </p:xfrm>
        <a:graphic>
          <a:graphicData uri="http://schemas.openxmlformats.org/drawingml/2006/table">
            <a:tbl>
              <a:tblPr firstRow="1" firstCol="1">
                <a:tableStyleId>{9DCAF9ED-07DC-4A11-8D7F-57B35C25682E}</a:tableStyleId>
              </a:tblPr>
              <a:tblGrid>
                <a:gridCol w="2402643">
                  <a:extLst>
                    <a:ext uri="{9D8B030D-6E8A-4147-A177-3AD203B41FA5}">
                      <a16:colId xmlns:a16="http://schemas.microsoft.com/office/drawing/2014/main" val="4279085874"/>
                    </a:ext>
                  </a:extLst>
                </a:gridCol>
                <a:gridCol w="2402643">
                  <a:extLst>
                    <a:ext uri="{9D8B030D-6E8A-4147-A177-3AD203B41FA5}">
                      <a16:colId xmlns:a16="http://schemas.microsoft.com/office/drawing/2014/main" val="2819178688"/>
                    </a:ext>
                  </a:extLst>
                </a:gridCol>
              </a:tblGrid>
              <a:tr h="700893">
                <a:tc>
                  <a:txBody>
                    <a:bodyPr/>
                    <a:lstStyle/>
                    <a:p>
                      <a:pPr algn="ctr" rtl="0" fontAlgn="base"/>
                      <a:r>
                        <a:rPr lang="en-US" sz="1200">
                          <a:effectLst/>
                        </a:rPr>
                        <a:t>Resource </a:t>
                      </a:r>
                      <a:endParaRPr lang="en-US">
                        <a:effectLst/>
                      </a:endParaRPr>
                    </a:p>
                  </a:txBody>
                  <a:tcPr/>
                </a:tc>
                <a:tc>
                  <a:txBody>
                    <a:bodyPr/>
                    <a:lstStyle/>
                    <a:p>
                      <a:pPr algn="ctr" rtl="0" fontAlgn="base"/>
                      <a:r>
                        <a:rPr lang="en-US" sz="1200">
                          <a:effectLst/>
                        </a:rPr>
                        <a:t>Cost </a:t>
                      </a:r>
                      <a:endParaRPr lang="en-US">
                        <a:effectLst/>
                      </a:endParaRPr>
                    </a:p>
                  </a:txBody>
                  <a:tcPr/>
                </a:tc>
                <a:extLst>
                  <a:ext uri="{0D108BD9-81ED-4DB2-BD59-A6C34878D82A}">
                    <a16:rowId xmlns:a16="http://schemas.microsoft.com/office/drawing/2014/main" val="1677769001"/>
                  </a:ext>
                </a:extLst>
              </a:tr>
              <a:tr h="700893">
                <a:tc>
                  <a:txBody>
                    <a:bodyPr/>
                    <a:lstStyle/>
                    <a:p>
                      <a:pPr algn="ctr" rtl="0" fontAlgn="base"/>
                      <a:r>
                        <a:rPr lang="en-US" sz="1200">
                          <a:effectLst/>
                        </a:rPr>
                        <a:t>Material Components </a:t>
                      </a:r>
                      <a:endParaRPr lang="en-US">
                        <a:effectLst/>
                      </a:endParaRPr>
                    </a:p>
                  </a:txBody>
                  <a:tcPr/>
                </a:tc>
                <a:tc>
                  <a:txBody>
                    <a:bodyPr/>
                    <a:lstStyle/>
                    <a:p>
                      <a:pPr algn="ctr" rtl="0" fontAlgn="base"/>
                      <a:r>
                        <a:rPr lang="en-US" sz="1200">
                          <a:effectLst/>
                        </a:rPr>
                        <a:t>$20000 </a:t>
                      </a:r>
                      <a:endParaRPr lang="en-US">
                        <a:effectLst/>
                      </a:endParaRPr>
                    </a:p>
                  </a:txBody>
                  <a:tcPr/>
                </a:tc>
                <a:extLst>
                  <a:ext uri="{0D108BD9-81ED-4DB2-BD59-A6C34878D82A}">
                    <a16:rowId xmlns:a16="http://schemas.microsoft.com/office/drawing/2014/main" val="3930974319"/>
                  </a:ext>
                </a:extLst>
              </a:tr>
              <a:tr h="700893">
                <a:tc>
                  <a:txBody>
                    <a:bodyPr/>
                    <a:lstStyle/>
                    <a:p>
                      <a:pPr algn="ctr" rtl="0" fontAlgn="base"/>
                      <a:r>
                        <a:rPr lang="en-US" sz="1200">
                          <a:effectLst/>
                        </a:rPr>
                        <a:t>Logistics Expenses </a:t>
                      </a:r>
                      <a:endParaRPr lang="en-US">
                        <a:effectLst/>
                      </a:endParaRPr>
                    </a:p>
                  </a:txBody>
                  <a:tcPr/>
                </a:tc>
                <a:tc>
                  <a:txBody>
                    <a:bodyPr/>
                    <a:lstStyle/>
                    <a:p>
                      <a:pPr algn="ctr" rtl="0" fontAlgn="base"/>
                      <a:r>
                        <a:rPr lang="en-US" sz="1200">
                          <a:effectLst/>
                        </a:rPr>
                        <a:t>$15000 </a:t>
                      </a:r>
                      <a:endParaRPr lang="en-US">
                        <a:effectLst/>
                      </a:endParaRPr>
                    </a:p>
                  </a:txBody>
                  <a:tcPr/>
                </a:tc>
                <a:extLst>
                  <a:ext uri="{0D108BD9-81ED-4DB2-BD59-A6C34878D82A}">
                    <a16:rowId xmlns:a16="http://schemas.microsoft.com/office/drawing/2014/main" val="285709706"/>
                  </a:ext>
                </a:extLst>
              </a:tr>
              <a:tr h="700893">
                <a:tc>
                  <a:txBody>
                    <a:bodyPr/>
                    <a:lstStyle/>
                    <a:p>
                      <a:pPr algn="ctr" rtl="0" fontAlgn="base"/>
                      <a:r>
                        <a:rPr lang="en-US" sz="1200">
                          <a:effectLst/>
                        </a:rPr>
                        <a:t>Facility Construction </a:t>
                      </a:r>
                      <a:endParaRPr lang="en-US">
                        <a:effectLst/>
                      </a:endParaRPr>
                    </a:p>
                  </a:txBody>
                  <a:tcPr/>
                </a:tc>
                <a:tc>
                  <a:txBody>
                    <a:bodyPr/>
                    <a:lstStyle/>
                    <a:p>
                      <a:pPr algn="ctr" rtl="0" fontAlgn="base"/>
                      <a:r>
                        <a:rPr lang="en-US" sz="1200">
                          <a:effectLst/>
                        </a:rPr>
                        <a:t>$10000 </a:t>
                      </a:r>
                      <a:endParaRPr lang="en-US">
                        <a:effectLst/>
                      </a:endParaRPr>
                    </a:p>
                  </a:txBody>
                  <a:tcPr/>
                </a:tc>
                <a:extLst>
                  <a:ext uri="{0D108BD9-81ED-4DB2-BD59-A6C34878D82A}">
                    <a16:rowId xmlns:a16="http://schemas.microsoft.com/office/drawing/2014/main" val="3580010593"/>
                  </a:ext>
                </a:extLst>
              </a:tr>
              <a:tr h="700893">
                <a:tc>
                  <a:txBody>
                    <a:bodyPr/>
                    <a:lstStyle/>
                    <a:p>
                      <a:pPr algn="ctr" rtl="0" fontAlgn="base"/>
                      <a:r>
                        <a:rPr lang="en-US" sz="1200">
                          <a:effectLst/>
                        </a:rPr>
                        <a:t>Marketing Research Reports </a:t>
                      </a:r>
                      <a:endParaRPr lang="en-US">
                        <a:effectLst/>
                      </a:endParaRPr>
                    </a:p>
                  </a:txBody>
                  <a:tcPr/>
                </a:tc>
                <a:tc>
                  <a:txBody>
                    <a:bodyPr/>
                    <a:lstStyle/>
                    <a:p>
                      <a:pPr algn="ctr" rtl="0" fontAlgn="base"/>
                      <a:r>
                        <a:rPr lang="en-US" sz="1200">
                          <a:effectLst/>
                        </a:rPr>
                        <a:t>$6000 </a:t>
                      </a:r>
                      <a:endParaRPr lang="en-US">
                        <a:effectLst/>
                      </a:endParaRPr>
                    </a:p>
                  </a:txBody>
                  <a:tcPr/>
                </a:tc>
                <a:extLst>
                  <a:ext uri="{0D108BD9-81ED-4DB2-BD59-A6C34878D82A}">
                    <a16:rowId xmlns:a16="http://schemas.microsoft.com/office/drawing/2014/main" val="2576336323"/>
                  </a:ext>
                </a:extLst>
              </a:tr>
              <a:tr h="700893">
                <a:tc>
                  <a:txBody>
                    <a:bodyPr/>
                    <a:lstStyle/>
                    <a:p>
                      <a:pPr algn="ctr" rtl="0" fontAlgn="base"/>
                      <a:r>
                        <a:rPr lang="en-US" sz="1200">
                          <a:effectLst/>
                        </a:rPr>
                        <a:t>Vendors </a:t>
                      </a:r>
                      <a:endParaRPr lang="en-US">
                        <a:effectLst/>
                      </a:endParaRPr>
                    </a:p>
                  </a:txBody>
                  <a:tcPr/>
                </a:tc>
                <a:tc>
                  <a:txBody>
                    <a:bodyPr/>
                    <a:lstStyle/>
                    <a:p>
                      <a:pPr algn="ctr" rtl="0" fontAlgn="base"/>
                      <a:r>
                        <a:rPr lang="en-US" sz="1200">
                          <a:effectLst/>
                        </a:rPr>
                        <a:t>$12000 </a:t>
                      </a:r>
                      <a:endParaRPr lang="en-US">
                        <a:effectLst/>
                      </a:endParaRPr>
                    </a:p>
                  </a:txBody>
                  <a:tcPr/>
                </a:tc>
                <a:extLst>
                  <a:ext uri="{0D108BD9-81ED-4DB2-BD59-A6C34878D82A}">
                    <a16:rowId xmlns:a16="http://schemas.microsoft.com/office/drawing/2014/main" val="782922401"/>
                  </a:ext>
                </a:extLst>
              </a:tr>
              <a:tr h="700893">
                <a:tc>
                  <a:txBody>
                    <a:bodyPr/>
                    <a:lstStyle/>
                    <a:p>
                      <a:pPr algn="ctr" rtl="0" fontAlgn="base"/>
                      <a:r>
                        <a:rPr lang="en-US" sz="1200">
                          <a:effectLst/>
                        </a:rPr>
                        <a:t>Contingency Reserve </a:t>
                      </a:r>
                      <a:endParaRPr lang="en-US">
                        <a:effectLst/>
                      </a:endParaRPr>
                    </a:p>
                  </a:txBody>
                  <a:tcPr/>
                </a:tc>
                <a:tc>
                  <a:txBody>
                    <a:bodyPr/>
                    <a:lstStyle/>
                    <a:p>
                      <a:pPr algn="ctr" rtl="0" fontAlgn="base"/>
                      <a:r>
                        <a:rPr lang="en-US" sz="1200">
                          <a:effectLst/>
                        </a:rPr>
                        <a:t>$50,000 </a:t>
                      </a:r>
                      <a:endParaRPr lang="en-US">
                        <a:effectLst/>
                      </a:endParaRPr>
                    </a:p>
                  </a:txBody>
                  <a:tcPr/>
                </a:tc>
                <a:extLst>
                  <a:ext uri="{0D108BD9-81ED-4DB2-BD59-A6C34878D82A}">
                    <a16:rowId xmlns:a16="http://schemas.microsoft.com/office/drawing/2014/main" val="2848468539"/>
                  </a:ext>
                </a:extLst>
              </a:tr>
            </a:tbl>
          </a:graphicData>
        </a:graphic>
      </p:graphicFrame>
    </p:spTree>
    <p:extLst>
      <p:ext uri="{BB962C8B-B14F-4D97-AF65-F5344CB8AC3E}">
        <p14:creationId xmlns:p14="http://schemas.microsoft.com/office/powerpoint/2010/main" val="2836160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3B47FC9C-2ED3-4100-A4EF-E8CDFEE106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hart 4">
            <a:extLst>
              <a:ext uri="{FF2B5EF4-FFF2-40B4-BE49-F238E27FC236}">
                <a16:creationId xmlns:a16="http://schemas.microsoft.com/office/drawing/2014/main" id="{81DFA7B0-6FD7-4BB2-A8FA-6F07AEFE695D}"/>
              </a:ext>
            </a:extLst>
          </p:cNvPr>
          <p:cNvGraphicFramePr>
            <a:graphicFrameLocks/>
          </p:cNvGraphicFramePr>
          <p:nvPr>
            <p:extLst>
              <p:ext uri="{D42A27DB-BD31-4B8C-83A1-F6EECF244321}">
                <p14:modId xmlns:p14="http://schemas.microsoft.com/office/powerpoint/2010/main" val="3844731836"/>
              </p:ext>
            </p:extLst>
          </p:nvPr>
        </p:nvGraphicFramePr>
        <p:xfrm>
          <a:off x="5782128" y="904159"/>
          <a:ext cx="6093190" cy="588706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83F348E0-BCD9-4499-BC4F-C7D7DA729FEB}"/>
              </a:ext>
            </a:extLst>
          </p:cNvPr>
          <p:cNvSpPr>
            <a:spLocks noGrp="1"/>
          </p:cNvSpPr>
          <p:nvPr>
            <p:ph type="title"/>
          </p:nvPr>
        </p:nvSpPr>
        <p:spPr>
          <a:xfrm>
            <a:off x="5874657" y="442363"/>
            <a:ext cx="5363029" cy="665898"/>
          </a:xfrm>
        </p:spPr>
        <p:txBody>
          <a:bodyPr vert="horz" lIns="91440" tIns="45720" rIns="91440" bIns="45720" rtlCol="0" anchor="ctr">
            <a:normAutofit/>
          </a:bodyPr>
          <a:lstStyle/>
          <a:p>
            <a:pPr algn="ctr"/>
            <a:r>
              <a:rPr lang="en-US" sz="4000" b="1">
                <a:latin typeface=" Calibri light"/>
                <a:cs typeface="Calibri"/>
              </a:rPr>
              <a:t>COST DISTRIBUTION</a:t>
            </a:r>
            <a:endParaRPr lang="en-US" sz="4000" b="1" kern="1200">
              <a:latin typeface=" Calibri light"/>
              <a:cs typeface="Calibri"/>
            </a:endParaRPr>
          </a:p>
        </p:txBody>
      </p:sp>
      <p:graphicFrame>
        <p:nvGraphicFramePr>
          <p:cNvPr id="4" name="Content Placeholder 3">
            <a:extLst>
              <a:ext uri="{FF2B5EF4-FFF2-40B4-BE49-F238E27FC236}">
                <a16:creationId xmlns:a16="http://schemas.microsoft.com/office/drawing/2014/main" id="{C6BD2A4C-02C4-4003-A126-27A265DF83C9}"/>
              </a:ext>
            </a:extLst>
          </p:cNvPr>
          <p:cNvGraphicFramePr>
            <a:graphicFrameLocks noGrp="1"/>
          </p:cNvGraphicFramePr>
          <p:nvPr>
            <p:ph idx="1"/>
            <p:extLst>
              <p:ext uri="{D42A27DB-BD31-4B8C-83A1-F6EECF244321}">
                <p14:modId xmlns:p14="http://schemas.microsoft.com/office/powerpoint/2010/main" val="3525362366"/>
              </p:ext>
            </p:extLst>
          </p:nvPr>
        </p:nvGraphicFramePr>
        <p:xfrm>
          <a:off x="401484" y="1358900"/>
          <a:ext cx="5041373" cy="520167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323DF2F6-9683-4AC4-BE7B-2CFAB6F9F4D7}"/>
              </a:ext>
            </a:extLst>
          </p:cNvPr>
          <p:cNvSpPr txBox="1"/>
          <p:nvPr/>
        </p:nvSpPr>
        <p:spPr>
          <a:xfrm>
            <a:off x="1339953" y="405887"/>
            <a:ext cx="3370005" cy="7017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000" b="1">
                <a:latin typeface="Calibri Light"/>
                <a:cs typeface="Calibri Light"/>
              </a:rPr>
              <a:t>COST STATUS</a:t>
            </a:r>
          </a:p>
        </p:txBody>
      </p:sp>
    </p:spTree>
    <p:extLst>
      <p:ext uri="{BB962C8B-B14F-4D97-AF65-F5344CB8AC3E}">
        <p14:creationId xmlns:p14="http://schemas.microsoft.com/office/powerpoint/2010/main" val="23330324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2E3049-03A0-4F7D-987B-924CC0066E7E}"/>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4000" b="1">
                <a:solidFill>
                  <a:schemeClr val="bg1"/>
                </a:solidFill>
              </a:rPr>
              <a:t>PROJECT RESOURCES </a:t>
            </a:r>
            <a:endParaRPr lang="en-US" sz="4000" b="1" kern="1200">
              <a:solidFill>
                <a:schemeClr val="bg1"/>
              </a:solidFill>
              <a:latin typeface="+mj-lt"/>
              <a:cs typeface="Calibri Light"/>
            </a:endParaRPr>
          </a:p>
        </p:txBody>
      </p:sp>
      <p:graphicFrame>
        <p:nvGraphicFramePr>
          <p:cNvPr id="7" name="Content Placeholder 3">
            <a:extLst>
              <a:ext uri="{FF2B5EF4-FFF2-40B4-BE49-F238E27FC236}">
                <a16:creationId xmlns:a16="http://schemas.microsoft.com/office/drawing/2014/main" id="{DD3369CA-EC43-49CC-B44A-AC6C39C6C088}"/>
              </a:ext>
            </a:extLst>
          </p:cNvPr>
          <p:cNvGraphicFramePr>
            <a:graphicFrameLocks/>
          </p:cNvGraphicFramePr>
          <p:nvPr>
            <p:extLst>
              <p:ext uri="{D42A27DB-BD31-4B8C-83A1-F6EECF244321}">
                <p14:modId xmlns:p14="http://schemas.microsoft.com/office/powerpoint/2010/main" val="571004943"/>
              </p:ext>
            </p:extLst>
          </p:nvPr>
        </p:nvGraphicFramePr>
        <p:xfrm>
          <a:off x="643467" y="1700280"/>
          <a:ext cx="10905070" cy="4387523"/>
        </p:xfrm>
        <a:graphic>
          <a:graphicData uri="http://schemas.openxmlformats.org/drawingml/2006/table">
            <a:tbl>
              <a:tblPr firstRow="1" bandRow="1">
                <a:solidFill>
                  <a:schemeClr val="bg1">
                    <a:lumMod val="95000"/>
                  </a:schemeClr>
                </a:solidFill>
              </a:tblPr>
              <a:tblGrid>
                <a:gridCol w="2377769">
                  <a:extLst>
                    <a:ext uri="{9D8B030D-6E8A-4147-A177-3AD203B41FA5}">
                      <a16:colId xmlns:a16="http://schemas.microsoft.com/office/drawing/2014/main" val="1602531027"/>
                    </a:ext>
                  </a:extLst>
                </a:gridCol>
                <a:gridCol w="1400489">
                  <a:extLst>
                    <a:ext uri="{9D8B030D-6E8A-4147-A177-3AD203B41FA5}">
                      <a16:colId xmlns:a16="http://schemas.microsoft.com/office/drawing/2014/main" val="1565671444"/>
                    </a:ext>
                  </a:extLst>
                </a:gridCol>
                <a:gridCol w="1045818">
                  <a:extLst>
                    <a:ext uri="{9D8B030D-6E8A-4147-A177-3AD203B41FA5}">
                      <a16:colId xmlns:a16="http://schemas.microsoft.com/office/drawing/2014/main" val="491566002"/>
                    </a:ext>
                  </a:extLst>
                </a:gridCol>
                <a:gridCol w="1100653">
                  <a:extLst>
                    <a:ext uri="{9D8B030D-6E8A-4147-A177-3AD203B41FA5}">
                      <a16:colId xmlns:a16="http://schemas.microsoft.com/office/drawing/2014/main" val="3428248865"/>
                    </a:ext>
                  </a:extLst>
                </a:gridCol>
                <a:gridCol w="1100653">
                  <a:extLst>
                    <a:ext uri="{9D8B030D-6E8A-4147-A177-3AD203B41FA5}">
                      <a16:colId xmlns:a16="http://schemas.microsoft.com/office/drawing/2014/main" val="4210436543"/>
                    </a:ext>
                  </a:extLst>
                </a:gridCol>
                <a:gridCol w="1100653">
                  <a:extLst>
                    <a:ext uri="{9D8B030D-6E8A-4147-A177-3AD203B41FA5}">
                      <a16:colId xmlns:a16="http://schemas.microsoft.com/office/drawing/2014/main" val="240621566"/>
                    </a:ext>
                  </a:extLst>
                </a:gridCol>
                <a:gridCol w="1276909">
                  <a:extLst>
                    <a:ext uri="{9D8B030D-6E8A-4147-A177-3AD203B41FA5}">
                      <a16:colId xmlns:a16="http://schemas.microsoft.com/office/drawing/2014/main" val="1006545897"/>
                    </a:ext>
                  </a:extLst>
                </a:gridCol>
                <a:gridCol w="1502126">
                  <a:extLst>
                    <a:ext uri="{9D8B030D-6E8A-4147-A177-3AD203B41FA5}">
                      <a16:colId xmlns:a16="http://schemas.microsoft.com/office/drawing/2014/main" val="2774575189"/>
                    </a:ext>
                  </a:extLst>
                </a:gridCol>
              </a:tblGrid>
              <a:tr h="515701">
                <a:tc gridSpan="8">
                  <a:txBody>
                    <a:bodyPr/>
                    <a:lstStyle/>
                    <a:p>
                      <a:pPr algn="ctr" rtl="0" fontAlgn="base"/>
                      <a:r>
                        <a:rPr lang="en-US" sz="1700" b="0" i="0" cap="none" spc="0">
                          <a:solidFill>
                            <a:schemeClr val="bg1"/>
                          </a:solidFill>
                          <a:effectLst/>
                          <a:latin typeface="Times New Roman"/>
                        </a:rPr>
                        <a:t>Hours Needed</a:t>
                      </a:r>
                      <a:endParaRPr lang="en-US" sz="1800"/>
                    </a:p>
                  </a:txBody>
                  <a:tcPr marL="146645" marR="88000" marT="99428" marB="112804" anchor="ctr">
                    <a:lnL w="12700" cmpd="sng">
                      <a:noFill/>
                    </a:lnL>
                    <a:lnR w="12700" cmpd="sng">
                      <a:noFill/>
                      <a:prstDash val="solid"/>
                    </a:lnR>
                    <a:lnT w="19050" cap="flat" cmpd="sng" algn="ctr">
                      <a:noFill/>
                      <a:prstDash val="solid"/>
                    </a:lnT>
                    <a:lnB w="9525" cap="flat" cmpd="sng" algn="ctr">
                      <a:solidFill>
                        <a:schemeClr val="tx1">
                          <a:lumMod val="50000"/>
                          <a:lumOff val="50000"/>
                        </a:schemeClr>
                      </a:solidFill>
                      <a:prstDash val="solid"/>
                    </a:lnB>
                    <a:solidFill>
                      <a:schemeClr val="accent2"/>
                    </a:solidFill>
                  </a:tcPr>
                </a:tc>
                <a:tc hMerge="1">
                  <a:txBody>
                    <a:bodyPr/>
                    <a:lstStyle/>
                    <a:p>
                      <a:endParaRPr lang="en-US"/>
                    </a:p>
                  </a:txBody>
                  <a:tcPr marL="142870" marR="85734" marT="96868" marB="109900" anchor="ctr">
                    <a:lnL w="12700" cmpd="sng">
                      <a:noFill/>
                      <a:prstDash val="solid"/>
                    </a:lnL>
                    <a:lnR w="12700" cmpd="sng">
                      <a:noFill/>
                      <a:prstDash val="solid"/>
                    </a:lnR>
                    <a:lnT w="19050" cap="flat" cmpd="sng" algn="ctr">
                      <a:noFill/>
                      <a:prstDash val="solid"/>
                    </a:lnT>
                    <a:lnB w="9525" cap="flat" cmpd="sng" algn="ctr">
                      <a:solidFill>
                        <a:schemeClr val="tx1">
                          <a:lumMod val="50000"/>
                          <a:lumOff val="50000"/>
                        </a:schemeClr>
                      </a:solidFill>
                      <a:prstDash val="solid"/>
                    </a:lnB>
                    <a:solidFill>
                      <a:schemeClr val="accent2"/>
                    </a:solidFill>
                  </a:tcPr>
                </a:tc>
                <a:tc hMerge="1">
                  <a:txBody>
                    <a:bodyPr/>
                    <a:lstStyle/>
                    <a:p>
                      <a:endParaRPr lang="en-US"/>
                    </a:p>
                  </a:txBody>
                  <a:tcPr marL="142870" marR="85734" marT="96868" marB="109900" anchor="ctr">
                    <a:lnL w="12700" cmpd="sng">
                      <a:noFill/>
                      <a:prstDash val="solid"/>
                    </a:lnL>
                    <a:lnR w="12700" cmpd="sng">
                      <a:noFill/>
                      <a:prstDash val="solid"/>
                    </a:lnR>
                    <a:lnT w="19050" cap="flat" cmpd="sng" algn="ctr">
                      <a:noFill/>
                      <a:prstDash val="solid"/>
                    </a:lnT>
                    <a:lnB w="9525" cap="flat" cmpd="sng" algn="ctr">
                      <a:solidFill>
                        <a:schemeClr val="tx1">
                          <a:lumMod val="50000"/>
                          <a:lumOff val="50000"/>
                        </a:schemeClr>
                      </a:solidFill>
                      <a:prstDash val="solid"/>
                    </a:lnB>
                    <a:solidFill>
                      <a:schemeClr val="accent2"/>
                    </a:solidFill>
                  </a:tcPr>
                </a:tc>
                <a:tc hMerge="1">
                  <a:txBody>
                    <a:bodyPr/>
                    <a:lstStyle/>
                    <a:p>
                      <a:endParaRPr lang="en-US"/>
                    </a:p>
                  </a:txBody>
                  <a:tcPr marL="142870" marR="85734" marT="96868" marB="109900" anchor="ctr">
                    <a:lnL w="12700" cmpd="sng">
                      <a:noFill/>
                      <a:prstDash val="solid"/>
                    </a:lnL>
                    <a:lnR w="12700" cmpd="sng">
                      <a:noFill/>
                      <a:prstDash val="solid"/>
                    </a:lnR>
                    <a:lnT w="19050" cap="flat" cmpd="sng" algn="ctr">
                      <a:noFill/>
                      <a:prstDash val="solid"/>
                    </a:lnT>
                    <a:lnB w="9525" cap="flat" cmpd="sng" algn="ctr">
                      <a:solidFill>
                        <a:schemeClr val="tx1">
                          <a:lumMod val="50000"/>
                          <a:lumOff val="50000"/>
                        </a:schemeClr>
                      </a:solidFill>
                      <a:prstDash val="solid"/>
                    </a:lnB>
                    <a:solidFill>
                      <a:schemeClr val="accent2"/>
                    </a:solidFill>
                  </a:tcPr>
                </a:tc>
                <a:tc hMerge="1">
                  <a:txBody>
                    <a:bodyPr/>
                    <a:lstStyle/>
                    <a:p>
                      <a:endParaRPr lang="en-US"/>
                    </a:p>
                  </a:txBody>
                  <a:tcPr marL="142870" marR="85734" marT="96868" marB="109900" anchor="ctr">
                    <a:lnL w="12700" cmpd="sng">
                      <a:noFill/>
                      <a:prstDash val="solid"/>
                    </a:lnL>
                    <a:lnR w="12700" cmpd="sng">
                      <a:noFill/>
                      <a:prstDash val="solid"/>
                    </a:lnR>
                    <a:lnT w="19050" cap="flat" cmpd="sng" algn="ctr">
                      <a:noFill/>
                      <a:prstDash val="solid"/>
                    </a:lnT>
                    <a:lnB w="9525" cap="flat" cmpd="sng" algn="ctr">
                      <a:solidFill>
                        <a:schemeClr val="tx1">
                          <a:lumMod val="50000"/>
                          <a:lumOff val="50000"/>
                        </a:schemeClr>
                      </a:solidFill>
                      <a:prstDash val="solid"/>
                    </a:lnB>
                    <a:solidFill>
                      <a:schemeClr val="accent2"/>
                    </a:solidFill>
                  </a:tcPr>
                </a:tc>
                <a:tc hMerge="1">
                  <a:txBody>
                    <a:bodyPr/>
                    <a:lstStyle/>
                    <a:p>
                      <a:endParaRPr lang="en-US"/>
                    </a:p>
                  </a:txBody>
                  <a:tcPr marL="142870" marR="85734" marT="96868" marB="109900" anchor="ctr">
                    <a:lnL w="12700" cmpd="sng">
                      <a:noFill/>
                      <a:prstDash val="solid"/>
                    </a:lnL>
                    <a:lnR w="12700" cmpd="sng">
                      <a:noFill/>
                      <a:prstDash val="solid"/>
                    </a:lnR>
                    <a:lnT w="19050" cap="flat" cmpd="sng" algn="ctr">
                      <a:noFill/>
                      <a:prstDash val="solid"/>
                    </a:lnT>
                    <a:lnB w="9525" cap="flat" cmpd="sng" algn="ctr">
                      <a:solidFill>
                        <a:schemeClr val="tx1">
                          <a:lumMod val="50000"/>
                          <a:lumOff val="50000"/>
                        </a:schemeClr>
                      </a:solidFill>
                      <a:prstDash val="solid"/>
                    </a:lnB>
                    <a:solidFill>
                      <a:schemeClr val="accent2"/>
                    </a:solidFill>
                  </a:tcPr>
                </a:tc>
                <a:tc hMerge="1">
                  <a:txBody>
                    <a:bodyPr/>
                    <a:lstStyle/>
                    <a:p>
                      <a:endParaRPr lang="en-US"/>
                    </a:p>
                  </a:txBody>
                  <a:tcPr marL="142870" marR="85734" marT="96868" marB="109900" anchor="ctr">
                    <a:lnL w="12700" cmpd="sng">
                      <a:noFill/>
                      <a:prstDash val="solid"/>
                    </a:lnL>
                    <a:lnR w="12700" cmpd="sng">
                      <a:noFill/>
                      <a:prstDash val="solid"/>
                    </a:lnR>
                    <a:lnT w="19050" cap="flat" cmpd="sng" algn="ctr">
                      <a:noFill/>
                      <a:prstDash val="solid"/>
                    </a:lnT>
                    <a:lnB w="9525" cap="flat" cmpd="sng" algn="ctr">
                      <a:solidFill>
                        <a:schemeClr val="tx1">
                          <a:lumMod val="50000"/>
                          <a:lumOff val="50000"/>
                        </a:schemeClr>
                      </a:solidFill>
                      <a:prstDash val="solid"/>
                    </a:lnB>
                    <a:solidFill>
                      <a:schemeClr val="accent2"/>
                    </a:solidFill>
                  </a:tcPr>
                </a:tc>
                <a:tc hMerge="1">
                  <a:txBody>
                    <a:bodyPr/>
                    <a:lstStyle/>
                    <a:p>
                      <a:endParaRPr lang="en-US"/>
                    </a:p>
                  </a:txBody>
                  <a:tcPr marL="142870" marR="85734" marT="96868" marB="109900" anchor="ctr">
                    <a:lnL w="12700" cmpd="sng">
                      <a:noFill/>
                      <a:prstDash val="solid"/>
                    </a:lnL>
                    <a:lnR w="12700" cmpd="sng">
                      <a:noFill/>
                      <a:prstDash val="solid"/>
                    </a:lnR>
                    <a:lnT w="19050" cap="flat" cmpd="sng" algn="ctr">
                      <a:noFill/>
                      <a:prstDash val="solid"/>
                    </a:lnT>
                    <a:lnB w="9525" cap="flat" cmpd="sng" algn="ctr">
                      <a:solidFill>
                        <a:schemeClr val="tx1">
                          <a:lumMod val="50000"/>
                          <a:lumOff val="50000"/>
                        </a:schemeClr>
                      </a:solidFill>
                      <a:prstDash val="solid"/>
                    </a:lnB>
                    <a:solidFill>
                      <a:schemeClr val="accent2"/>
                    </a:solidFill>
                  </a:tcPr>
                </a:tc>
                <a:extLst>
                  <a:ext uri="{0D108BD9-81ED-4DB2-BD59-A6C34878D82A}">
                    <a16:rowId xmlns:a16="http://schemas.microsoft.com/office/drawing/2014/main" val="524553537"/>
                  </a:ext>
                </a:extLst>
              </a:tr>
              <a:tr h="656486">
                <a:tc>
                  <a:txBody>
                    <a:bodyPr/>
                    <a:lstStyle/>
                    <a:p>
                      <a:pPr lvl="0" algn="ctr" rtl="0">
                        <a:buNone/>
                      </a:pPr>
                      <a:r>
                        <a:rPr lang="en-US" sz="1600" b="1" i="0" cap="none" spc="0">
                          <a:solidFill>
                            <a:schemeClr val="tx1"/>
                          </a:solidFill>
                          <a:effectLst/>
                          <a:latin typeface="Calibri Light"/>
                        </a:rPr>
                        <a:t>Project Team Member </a:t>
                      </a:r>
                      <a:endParaRPr lang="en-US" sz="1600" b="1">
                        <a:latin typeface="Calibri Light"/>
                      </a:endParaRP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lvl="0" algn="ctr" rtl="0">
                        <a:buNone/>
                      </a:pPr>
                      <a:r>
                        <a:rPr lang="en-US" sz="1600" b="1" i="0" cap="none" spc="0">
                          <a:solidFill>
                            <a:schemeClr val="tx1"/>
                          </a:solidFill>
                          <a:effectLst/>
                          <a:latin typeface="Calibri Light"/>
                        </a:rPr>
                        <a:t>Phase1 </a:t>
                      </a:r>
                      <a:endParaRPr lang="en-US" sz="1600" b="1">
                        <a:latin typeface="Calibri Light"/>
                      </a:endParaRP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lvl="0" algn="ctr" rtl="0">
                        <a:buNone/>
                      </a:pPr>
                      <a:r>
                        <a:rPr lang="en-US" sz="1600" b="1" i="0" cap="none" spc="0">
                          <a:solidFill>
                            <a:schemeClr val="tx1"/>
                          </a:solidFill>
                          <a:effectLst/>
                          <a:latin typeface="Calibri Light"/>
                        </a:rPr>
                        <a:t>Phase2 </a:t>
                      </a:r>
                      <a:endParaRPr lang="en-US" sz="1600" b="1">
                        <a:latin typeface="Calibri Light"/>
                      </a:endParaRP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lvl="0" algn="ctr" rtl="0">
                        <a:buNone/>
                      </a:pPr>
                      <a:r>
                        <a:rPr lang="en-US" sz="1600" b="1" i="0" cap="none" spc="0">
                          <a:solidFill>
                            <a:schemeClr val="tx1"/>
                          </a:solidFill>
                          <a:effectLst/>
                          <a:latin typeface="Calibri Light"/>
                        </a:rPr>
                        <a:t>Phase 3 </a:t>
                      </a:r>
                      <a:endParaRPr lang="en-US" sz="1600" b="1">
                        <a:latin typeface="Calibri Light"/>
                      </a:endParaRP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lvl="0" algn="ctr" rtl="0">
                        <a:buNone/>
                      </a:pPr>
                      <a:r>
                        <a:rPr lang="en-US" sz="1600" b="1" i="0" cap="none" spc="0">
                          <a:solidFill>
                            <a:schemeClr val="tx1"/>
                          </a:solidFill>
                          <a:effectLst/>
                          <a:latin typeface="Calibri Light"/>
                        </a:rPr>
                        <a:t>Phase 4 </a:t>
                      </a:r>
                      <a:endParaRPr lang="en-US" sz="1600" b="1">
                        <a:latin typeface="Calibri Light"/>
                      </a:endParaRP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lvl="0" algn="ctr" rtl="0">
                        <a:buNone/>
                      </a:pPr>
                      <a:r>
                        <a:rPr lang="en-US" sz="1600" b="1" i="0" cap="none" spc="0">
                          <a:solidFill>
                            <a:schemeClr val="tx1"/>
                          </a:solidFill>
                          <a:effectLst/>
                          <a:latin typeface="Calibri Light"/>
                        </a:rPr>
                        <a:t>Phase 5 </a:t>
                      </a:r>
                      <a:endParaRPr lang="en-US" sz="1600" b="1">
                        <a:latin typeface="Calibri Light"/>
                      </a:endParaRP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lvl="0" algn="ctr" rtl="0">
                        <a:buNone/>
                      </a:pPr>
                      <a:r>
                        <a:rPr lang="en-US" sz="1600" b="1" i="0" cap="none" spc="0">
                          <a:solidFill>
                            <a:schemeClr val="tx1"/>
                          </a:solidFill>
                          <a:effectLst/>
                          <a:latin typeface="Calibri Light"/>
                        </a:rPr>
                        <a:t>Overhead </a:t>
                      </a:r>
                      <a:endParaRPr lang="en-US" sz="1600" b="1">
                        <a:latin typeface="Calibri Light"/>
                      </a:endParaRPr>
                    </a:p>
                    <a:p>
                      <a:pPr lvl="0" algn="ctr" rtl="0">
                        <a:buNone/>
                      </a:pPr>
                      <a:r>
                        <a:rPr lang="en-US" sz="1600" b="1" i="0" cap="none" spc="0">
                          <a:solidFill>
                            <a:schemeClr val="tx1"/>
                          </a:solidFill>
                          <a:effectLst/>
                          <a:latin typeface="Calibri Light"/>
                        </a:rPr>
                        <a:t>Rate </a:t>
                      </a:r>
                      <a:endParaRPr lang="en-US" sz="1600" b="1">
                        <a:latin typeface="Calibri Light"/>
                      </a:endParaRP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lvl="0" algn="ctr" rtl="0">
                        <a:buNone/>
                      </a:pPr>
                      <a:r>
                        <a:rPr lang="en-US" sz="1600" b="1" i="0" cap="none" spc="0">
                          <a:solidFill>
                            <a:schemeClr val="tx1"/>
                          </a:solidFill>
                          <a:effectLst/>
                          <a:latin typeface="Calibri Light"/>
                        </a:rPr>
                        <a:t>Hourly Rate </a:t>
                      </a:r>
                      <a:endParaRPr lang="en-US" sz="1600" b="1">
                        <a:latin typeface="Calibri Light"/>
                      </a:endParaRP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1065315349"/>
                  </a:ext>
                </a:extLst>
              </a:tr>
              <a:tr h="453130">
                <a:tc>
                  <a:txBody>
                    <a:bodyPr/>
                    <a:lstStyle/>
                    <a:p>
                      <a:pPr algn="ctr" rtl="0" fontAlgn="base"/>
                      <a:r>
                        <a:rPr lang="en-US" sz="1300" b="0" i="0" cap="none" spc="0">
                          <a:solidFill>
                            <a:schemeClr val="tx1"/>
                          </a:solidFill>
                          <a:effectLst/>
                          <a:latin typeface="Calibri Light"/>
                        </a:rPr>
                        <a:t>Anchal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28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8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36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300/</a:t>
                      </a:r>
                      <a:r>
                        <a:rPr lang="en-US" sz="1300" b="0" i="0" cap="none" spc="0" err="1">
                          <a:solidFill>
                            <a:schemeClr val="tx1"/>
                          </a:solidFill>
                          <a:effectLst/>
                          <a:latin typeface="Calibri Light"/>
                        </a:rPr>
                        <a:t>hr</a:t>
                      </a:r>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2089717938"/>
                  </a:ext>
                </a:extLst>
              </a:tr>
              <a:tr h="453130">
                <a:tc>
                  <a:txBody>
                    <a:bodyPr/>
                    <a:lstStyle/>
                    <a:p>
                      <a:pPr algn="ctr" rtl="0" fontAlgn="base"/>
                      <a:r>
                        <a:rPr lang="en-US" sz="1300" b="0" i="0" cap="none" spc="0">
                          <a:solidFill>
                            <a:schemeClr val="tx1"/>
                          </a:solidFill>
                          <a:effectLst/>
                          <a:latin typeface="Calibri Light"/>
                        </a:rPr>
                        <a:t>Felix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6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60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40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96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72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9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00/</a:t>
                      </a:r>
                      <a:r>
                        <a:rPr lang="en-US" sz="1300" b="0" i="0" cap="none" spc="0" err="1">
                          <a:solidFill>
                            <a:schemeClr val="tx1"/>
                          </a:solidFill>
                          <a:effectLst/>
                          <a:latin typeface="Calibri Light"/>
                        </a:rPr>
                        <a:t>hr</a:t>
                      </a:r>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2798348120"/>
                  </a:ext>
                </a:extLst>
              </a:tr>
              <a:tr h="453130">
                <a:tc>
                  <a:txBody>
                    <a:bodyPr/>
                    <a:lstStyle/>
                    <a:p>
                      <a:pPr algn="ctr" rtl="0" fontAlgn="base"/>
                      <a:r>
                        <a:rPr lang="en-US" sz="1300" b="0" i="0" cap="none" spc="0" err="1">
                          <a:solidFill>
                            <a:schemeClr val="tx1"/>
                          </a:solidFill>
                          <a:effectLst/>
                          <a:latin typeface="Calibri Light"/>
                        </a:rPr>
                        <a:t>Nnadozie</a:t>
                      </a:r>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32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320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344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9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450/</a:t>
                      </a:r>
                      <a:r>
                        <a:rPr lang="en-US" sz="1300" b="0" i="0" cap="none" spc="0" err="1">
                          <a:solidFill>
                            <a:schemeClr val="tx1"/>
                          </a:solidFill>
                          <a:effectLst/>
                          <a:latin typeface="Calibri Light"/>
                        </a:rPr>
                        <a:t>hr</a:t>
                      </a:r>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2870727126"/>
                  </a:ext>
                </a:extLst>
              </a:tr>
              <a:tr h="453130">
                <a:tc>
                  <a:txBody>
                    <a:bodyPr/>
                    <a:lstStyle/>
                    <a:p>
                      <a:pPr algn="ctr" rtl="0" fontAlgn="base"/>
                      <a:r>
                        <a:rPr lang="en-US" sz="1300" b="0" i="0" cap="none" spc="0">
                          <a:solidFill>
                            <a:schemeClr val="tx1"/>
                          </a:solidFill>
                          <a:effectLst/>
                          <a:latin typeface="Calibri Light"/>
                        </a:rPr>
                        <a:t>Mrunali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6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76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80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28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08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7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80/</a:t>
                      </a:r>
                      <a:r>
                        <a:rPr lang="en-US" sz="1300" b="0" i="0" cap="none" spc="0" err="1">
                          <a:solidFill>
                            <a:schemeClr val="tx1"/>
                          </a:solidFill>
                          <a:effectLst/>
                          <a:latin typeface="Calibri Light"/>
                        </a:rPr>
                        <a:t>hr</a:t>
                      </a:r>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684922732"/>
                  </a:ext>
                </a:extLst>
              </a:tr>
              <a:tr h="453130">
                <a:tc>
                  <a:txBody>
                    <a:bodyPr/>
                    <a:lstStyle/>
                    <a:p>
                      <a:pPr algn="ctr" rtl="0" fontAlgn="base"/>
                      <a:r>
                        <a:rPr lang="en-US" sz="1300" b="0" i="0" cap="none" spc="0">
                          <a:solidFill>
                            <a:schemeClr val="tx1"/>
                          </a:solidFill>
                          <a:effectLst/>
                          <a:latin typeface="Calibri Light"/>
                        </a:rPr>
                        <a:t>Roshani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72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00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80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96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7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80/</a:t>
                      </a:r>
                      <a:r>
                        <a:rPr lang="en-US" sz="1300" b="0" i="0" cap="none" spc="0" err="1">
                          <a:solidFill>
                            <a:schemeClr val="tx1"/>
                          </a:solidFill>
                          <a:effectLst/>
                          <a:latin typeface="Calibri Light"/>
                        </a:rPr>
                        <a:t>hr</a:t>
                      </a:r>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752329362"/>
                  </a:ext>
                </a:extLst>
              </a:tr>
              <a:tr h="453130">
                <a:tc>
                  <a:txBody>
                    <a:bodyPr/>
                    <a:lstStyle/>
                    <a:p>
                      <a:pPr algn="ctr" rtl="0" fontAlgn="base"/>
                      <a:r>
                        <a:rPr lang="en-US" sz="1300" b="0" i="0" cap="none" spc="0">
                          <a:solidFill>
                            <a:schemeClr val="tx1"/>
                          </a:solidFill>
                          <a:effectLst/>
                          <a:latin typeface="Calibri Light"/>
                        </a:rPr>
                        <a:t>Namratha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64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08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40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64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92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9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00/</a:t>
                      </a:r>
                      <a:r>
                        <a:rPr lang="en-US" sz="1300" b="0" i="0" cap="none" spc="0" err="1">
                          <a:solidFill>
                            <a:schemeClr val="tx1"/>
                          </a:solidFill>
                          <a:effectLst/>
                          <a:latin typeface="Calibri Light"/>
                        </a:rPr>
                        <a:t>hr</a:t>
                      </a:r>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2492762949"/>
                  </a:ext>
                </a:extLst>
              </a:tr>
              <a:tr h="453130">
                <a:tc>
                  <a:txBody>
                    <a:bodyPr/>
                    <a:lstStyle/>
                    <a:p>
                      <a:pPr algn="ctr" rtl="0" fontAlgn="base"/>
                      <a:r>
                        <a:rPr lang="en-US" sz="1300" b="0" i="0" cap="none" spc="0">
                          <a:solidFill>
                            <a:schemeClr val="tx1"/>
                          </a:solidFill>
                          <a:effectLst/>
                          <a:latin typeface="Calibri Light"/>
                        </a:rPr>
                        <a:t>Total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296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784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080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368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048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1.1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bg1">
                        <a:lumMod val="95000"/>
                      </a:schemeClr>
                    </a:solidFill>
                  </a:tcPr>
                </a:tc>
                <a:tc>
                  <a:txBody>
                    <a:bodyPr/>
                    <a:lstStyle/>
                    <a:p>
                      <a:pPr algn="ctr" rtl="0" fontAlgn="base"/>
                      <a:r>
                        <a:rPr lang="en-US" sz="1300" b="0" i="0" cap="none" spc="0">
                          <a:solidFill>
                            <a:schemeClr val="tx1"/>
                          </a:solidFill>
                          <a:effectLst/>
                          <a:latin typeface="Calibri Light"/>
                        </a:rPr>
                        <a:t>1310/</a:t>
                      </a:r>
                      <a:r>
                        <a:rPr lang="en-US" sz="1300" b="0" i="0" cap="none" spc="0" err="1">
                          <a:solidFill>
                            <a:schemeClr val="tx1"/>
                          </a:solidFill>
                          <a:effectLst/>
                          <a:latin typeface="Calibri Light"/>
                        </a:rPr>
                        <a:t>hr</a:t>
                      </a:r>
                      <a:r>
                        <a:rPr lang="en-US" sz="1300" b="0" i="0" cap="none" spc="0">
                          <a:solidFill>
                            <a:schemeClr val="tx1"/>
                          </a:solidFill>
                          <a:effectLst/>
                          <a:latin typeface="Calibri Light"/>
                        </a:rPr>
                        <a:t> </a:t>
                      </a:r>
                    </a:p>
                  </a:txBody>
                  <a:tcPr marL="146645" marR="88000" marT="99428" marB="112804">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660586190"/>
                  </a:ext>
                </a:extLst>
              </a:tr>
            </a:tbl>
          </a:graphicData>
        </a:graphic>
      </p:graphicFrame>
    </p:spTree>
    <p:extLst>
      <p:ext uri="{BB962C8B-B14F-4D97-AF65-F5344CB8AC3E}">
        <p14:creationId xmlns:p14="http://schemas.microsoft.com/office/powerpoint/2010/main" val="1704361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952B4610-38D5-4CB6-81BF-0A650217F5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121B96C-BDBE-4475-93CD-B0AAABF26350}"/>
              </a:ext>
            </a:extLst>
          </p:cNvPr>
          <p:cNvSpPr txBox="1"/>
          <p:nvPr/>
        </p:nvSpPr>
        <p:spPr>
          <a:xfrm>
            <a:off x="831987" y="343425"/>
            <a:ext cx="10521813" cy="1328139"/>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4000" b="1">
                <a:latin typeface="+mj-lt"/>
                <a:ea typeface="+mj-ea"/>
                <a:cs typeface="+mj-cs"/>
              </a:rPr>
              <a:t>Index </a:t>
            </a:r>
            <a:endParaRPr lang="en-US" sz="4000" b="1">
              <a:latin typeface="+mj-lt"/>
              <a:ea typeface="+mj-ea"/>
              <a:cs typeface="Calibri Light"/>
            </a:endParaRPr>
          </a:p>
        </p:txBody>
      </p:sp>
      <p:pic>
        <p:nvPicPr>
          <p:cNvPr id="14" name="Picture 13">
            <a:extLst>
              <a:ext uri="{FF2B5EF4-FFF2-40B4-BE49-F238E27FC236}">
                <a16:creationId xmlns:a16="http://schemas.microsoft.com/office/drawing/2014/main" id="{79574B1B-D15F-43A7-883F-CE34732DC181}"/>
              </a:ext>
            </a:extLst>
          </p:cNvPr>
          <p:cNvPicPr>
            <a:picLocks noChangeAspect="1"/>
          </p:cNvPicPr>
          <p:nvPr/>
        </p:nvPicPr>
        <p:blipFill rotWithShape="1">
          <a:blip r:embed="rId2"/>
          <a:srcRect l="14775" r="23867" b="1"/>
          <a:stretch/>
        </p:blipFill>
        <p:spPr>
          <a:xfrm>
            <a:off x="831987" y="1843286"/>
            <a:ext cx="3352078" cy="3728610"/>
          </a:xfrm>
          <a:prstGeom prst="rect">
            <a:avLst/>
          </a:prstGeom>
        </p:spPr>
      </p:pic>
      <p:graphicFrame>
        <p:nvGraphicFramePr>
          <p:cNvPr id="7" name="TextBox 4">
            <a:extLst>
              <a:ext uri="{FF2B5EF4-FFF2-40B4-BE49-F238E27FC236}">
                <a16:creationId xmlns:a16="http://schemas.microsoft.com/office/drawing/2014/main" id="{7B527689-2751-4A20-9A69-77C77BA83BF1}"/>
              </a:ext>
            </a:extLst>
          </p:cNvPr>
          <p:cNvGraphicFramePr/>
          <p:nvPr>
            <p:extLst>
              <p:ext uri="{D42A27DB-BD31-4B8C-83A1-F6EECF244321}">
                <p14:modId xmlns:p14="http://schemas.microsoft.com/office/powerpoint/2010/main" val="3757168813"/>
              </p:ext>
            </p:extLst>
          </p:nvPr>
        </p:nvGraphicFramePr>
        <p:xfrm>
          <a:off x="4650658" y="1843280"/>
          <a:ext cx="6703139" cy="42858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12357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2" name="Rectangle 191">
            <a:extLst>
              <a:ext uri="{FF2B5EF4-FFF2-40B4-BE49-F238E27FC236}">
                <a16:creationId xmlns:a16="http://schemas.microsoft.com/office/drawing/2014/main" id="{96918796-2918-40D6-BE3A-4600C47FCD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E1E9DA8-6D7D-4E48-A686-429CA77B4A20}"/>
              </a:ext>
            </a:extLst>
          </p:cNvPr>
          <p:cNvSpPr>
            <a:spLocks noGrp="1"/>
          </p:cNvSpPr>
          <p:nvPr>
            <p:ph type="title"/>
          </p:nvPr>
        </p:nvSpPr>
        <p:spPr>
          <a:xfrm>
            <a:off x="-351353" y="1087043"/>
            <a:ext cx="13106634" cy="408416"/>
          </a:xfrm>
        </p:spPr>
        <p:txBody>
          <a:bodyPr vert="horz" lIns="91440" tIns="45720" rIns="91440" bIns="45720" rtlCol="0" anchor="ctr">
            <a:noAutofit/>
          </a:bodyPr>
          <a:lstStyle/>
          <a:p>
            <a:pPr algn="ctr"/>
            <a:r>
              <a:rPr lang="en-US" sz="3200" b="1">
                <a:solidFill>
                  <a:schemeClr val="bg1"/>
                </a:solidFill>
              </a:rPr>
              <a:t>STAKEHOLDER</a:t>
            </a:r>
            <a:r>
              <a:rPr lang="en-US" sz="3200" b="1" i="0" kern="1200">
                <a:solidFill>
                  <a:schemeClr val="bg1"/>
                </a:solidFill>
                <a:effectLst/>
                <a:latin typeface="+mj-lt"/>
                <a:ea typeface="+mj-ea"/>
                <a:cs typeface="+mj-cs"/>
              </a:rPr>
              <a:t> </a:t>
            </a:r>
            <a:r>
              <a:rPr lang="en-US" sz="3200" b="1">
                <a:solidFill>
                  <a:schemeClr val="bg1"/>
                </a:solidFill>
              </a:rPr>
              <a:t>POWER</a:t>
            </a:r>
            <a:r>
              <a:rPr lang="en-US" sz="3200" b="1" i="0" kern="1200">
                <a:solidFill>
                  <a:schemeClr val="bg1"/>
                </a:solidFill>
                <a:effectLst/>
                <a:latin typeface="+mj-lt"/>
                <a:ea typeface="+mj-ea"/>
                <a:cs typeface="+mj-cs"/>
              </a:rPr>
              <a:t>/</a:t>
            </a:r>
            <a:r>
              <a:rPr lang="en-US" sz="3200" b="1">
                <a:solidFill>
                  <a:schemeClr val="bg1"/>
                </a:solidFill>
              </a:rPr>
              <a:t>INTEREST</a:t>
            </a:r>
            <a:r>
              <a:rPr lang="en-US" sz="3200" b="1" i="0" kern="1200">
                <a:solidFill>
                  <a:schemeClr val="bg1"/>
                </a:solidFill>
                <a:effectLst/>
                <a:latin typeface="+mj-lt"/>
                <a:ea typeface="+mj-ea"/>
                <a:cs typeface="+mj-cs"/>
              </a:rPr>
              <a:t> </a:t>
            </a:r>
            <a:r>
              <a:rPr lang="en-US" sz="3200" b="1">
                <a:solidFill>
                  <a:schemeClr val="bg1"/>
                </a:solidFill>
              </a:rPr>
              <a:t>GRID</a:t>
            </a:r>
            <a:r>
              <a:rPr lang="en-US" sz="3200" b="1" i="0" kern="1200">
                <a:solidFill>
                  <a:schemeClr val="bg1"/>
                </a:solidFill>
                <a:effectLst/>
                <a:latin typeface="+mj-lt"/>
                <a:ea typeface="+mj-ea"/>
                <a:cs typeface="+mj-cs"/>
              </a:rPr>
              <a:t>  </a:t>
            </a:r>
            <a:r>
              <a:rPr lang="en-US" sz="3200" b="1">
                <a:solidFill>
                  <a:schemeClr val="bg1"/>
                </a:solidFill>
              </a:rPr>
              <a:t>AND KEY STAKEHOLDER LIST</a:t>
            </a:r>
            <a:br>
              <a:rPr lang="en-US" sz="3200" b="1" kern="1200"/>
            </a:br>
            <a:endParaRPr lang="en-US" sz="4000" b="1" kern="1200">
              <a:solidFill>
                <a:schemeClr val="bg1"/>
              </a:solidFill>
              <a:latin typeface="+mj-lt"/>
              <a:cs typeface="Calibri Light"/>
            </a:endParaRPr>
          </a:p>
        </p:txBody>
      </p:sp>
      <p:pic>
        <p:nvPicPr>
          <p:cNvPr id="3" name="Picture 3" descr="Graphical user interface, treemap chart&#10;&#10;Description automatically generated">
            <a:extLst>
              <a:ext uri="{FF2B5EF4-FFF2-40B4-BE49-F238E27FC236}">
                <a16:creationId xmlns:a16="http://schemas.microsoft.com/office/drawing/2014/main" id="{8F029DED-8F3F-461C-B728-A0DCC7F55887}"/>
              </a:ext>
            </a:extLst>
          </p:cNvPr>
          <p:cNvPicPr>
            <a:picLocks noChangeAspect="1"/>
          </p:cNvPicPr>
          <p:nvPr/>
        </p:nvPicPr>
        <p:blipFill>
          <a:blip r:embed="rId2"/>
          <a:stretch>
            <a:fillRect/>
          </a:stretch>
        </p:blipFill>
        <p:spPr>
          <a:xfrm>
            <a:off x="604838" y="2077457"/>
            <a:ext cx="4362449" cy="3786556"/>
          </a:xfrm>
          <a:prstGeom prst="rect">
            <a:avLst/>
          </a:prstGeom>
        </p:spPr>
      </p:pic>
      <p:pic>
        <p:nvPicPr>
          <p:cNvPr id="4" name="Picture 4" descr="Table&#10;&#10;Description automatically generated">
            <a:extLst>
              <a:ext uri="{FF2B5EF4-FFF2-40B4-BE49-F238E27FC236}">
                <a16:creationId xmlns:a16="http://schemas.microsoft.com/office/drawing/2014/main" id="{63BCC0D4-5662-414D-8E9A-5B29DB359468}"/>
              </a:ext>
            </a:extLst>
          </p:cNvPr>
          <p:cNvPicPr>
            <a:picLocks noChangeAspect="1"/>
          </p:cNvPicPr>
          <p:nvPr/>
        </p:nvPicPr>
        <p:blipFill>
          <a:blip r:embed="rId3"/>
          <a:stretch>
            <a:fillRect/>
          </a:stretch>
        </p:blipFill>
        <p:spPr>
          <a:xfrm>
            <a:off x="5272089" y="1712924"/>
            <a:ext cx="6338886" cy="4479903"/>
          </a:xfrm>
          <a:prstGeom prst="rect">
            <a:avLst/>
          </a:prstGeom>
        </p:spPr>
      </p:pic>
    </p:spTree>
    <p:extLst>
      <p:ext uri="{BB962C8B-B14F-4D97-AF65-F5344CB8AC3E}">
        <p14:creationId xmlns:p14="http://schemas.microsoft.com/office/powerpoint/2010/main" val="8146003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716928-8AC8-4E6C-A9C4-E7C3C37744F4}"/>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4000" b="1">
                <a:solidFill>
                  <a:schemeClr val="bg1"/>
                </a:solidFill>
              </a:rPr>
              <a:t>PROJECT MEMBERS DIRECTORY</a:t>
            </a:r>
            <a:endParaRPr lang="en-US" sz="4000" kern="1200">
              <a:solidFill>
                <a:schemeClr val="bg1"/>
              </a:solidFill>
              <a:latin typeface="+mj-lt"/>
              <a:cs typeface="Calibri Light"/>
            </a:endParaRPr>
          </a:p>
        </p:txBody>
      </p:sp>
      <p:sp>
        <p:nvSpPr>
          <p:cNvPr id="32" name="TextBox 31">
            <a:extLst>
              <a:ext uri="{FF2B5EF4-FFF2-40B4-BE49-F238E27FC236}">
                <a16:creationId xmlns:a16="http://schemas.microsoft.com/office/drawing/2014/main" id="{8EDF4E37-93A6-4974-B5CB-315E2D2BD2B5}"/>
              </a:ext>
            </a:extLst>
          </p:cNvPr>
          <p:cNvSpPr txBox="1"/>
          <p:nvPr/>
        </p:nvSpPr>
        <p:spPr>
          <a:xfrm>
            <a:off x="4724400" y="3200400"/>
            <a:ext cx="2743200" cy="7232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endParaRPr lang="en-US"/>
          </a:p>
          <a:p>
            <a:pPr>
              <a:spcAft>
                <a:spcPts val="600"/>
              </a:spcAft>
            </a:pPr>
            <a:endParaRPr lang="en-US"/>
          </a:p>
        </p:txBody>
      </p:sp>
      <p:graphicFrame>
        <p:nvGraphicFramePr>
          <p:cNvPr id="31" name="Table 30">
            <a:extLst>
              <a:ext uri="{FF2B5EF4-FFF2-40B4-BE49-F238E27FC236}">
                <a16:creationId xmlns:a16="http://schemas.microsoft.com/office/drawing/2014/main" id="{0D2E707B-1F62-433A-B6A1-86B2901D85C6}"/>
              </a:ext>
            </a:extLst>
          </p:cNvPr>
          <p:cNvGraphicFramePr>
            <a:graphicFrameLocks noGrp="1"/>
          </p:cNvGraphicFramePr>
          <p:nvPr>
            <p:extLst>
              <p:ext uri="{D42A27DB-BD31-4B8C-83A1-F6EECF244321}">
                <p14:modId xmlns:p14="http://schemas.microsoft.com/office/powerpoint/2010/main" val="257081572"/>
              </p:ext>
            </p:extLst>
          </p:nvPr>
        </p:nvGraphicFramePr>
        <p:xfrm>
          <a:off x="645241" y="1794387"/>
          <a:ext cx="10905059" cy="4161588"/>
        </p:xfrm>
        <a:graphic>
          <a:graphicData uri="http://schemas.openxmlformats.org/drawingml/2006/table">
            <a:tbl>
              <a:tblPr firstRow="1" bandRow="1">
                <a:tableStyleId>{72833802-FEF1-4C79-8D5D-14CF1EAF98D9}</a:tableStyleId>
              </a:tblPr>
              <a:tblGrid>
                <a:gridCol w="2018108">
                  <a:extLst>
                    <a:ext uri="{9D8B030D-6E8A-4147-A177-3AD203B41FA5}">
                      <a16:colId xmlns:a16="http://schemas.microsoft.com/office/drawing/2014/main" val="3844136558"/>
                    </a:ext>
                  </a:extLst>
                </a:gridCol>
                <a:gridCol w="1324214">
                  <a:extLst>
                    <a:ext uri="{9D8B030D-6E8A-4147-A177-3AD203B41FA5}">
                      <a16:colId xmlns:a16="http://schemas.microsoft.com/office/drawing/2014/main" val="424013605"/>
                    </a:ext>
                  </a:extLst>
                </a:gridCol>
                <a:gridCol w="1721111">
                  <a:extLst>
                    <a:ext uri="{9D8B030D-6E8A-4147-A177-3AD203B41FA5}">
                      <a16:colId xmlns:a16="http://schemas.microsoft.com/office/drawing/2014/main" val="4075983407"/>
                    </a:ext>
                  </a:extLst>
                </a:gridCol>
                <a:gridCol w="1285875">
                  <a:extLst>
                    <a:ext uri="{9D8B030D-6E8A-4147-A177-3AD203B41FA5}">
                      <a16:colId xmlns:a16="http://schemas.microsoft.com/office/drawing/2014/main" val="4096921184"/>
                    </a:ext>
                  </a:extLst>
                </a:gridCol>
                <a:gridCol w="3191421">
                  <a:extLst>
                    <a:ext uri="{9D8B030D-6E8A-4147-A177-3AD203B41FA5}">
                      <a16:colId xmlns:a16="http://schemas.microsoft.com/office/drawing/2014/main" val="2367075690"/>
                    </a:ext>
                  </a:extLst>
                </a:gridCol>
                <a:gridCol w="1364330">
                  <a:extLst>
                    <a:ext uri="{9D8B030D-6E8A-4147-A177-3AD203B41FA5}">
                      <a16:colId xmlns:a16="http://schemas.microsoft.com/office/drawing/2014/main" val="1317338573"/>
                    </a:ext>
                  </a:extLst>
                </a:gridCol>
              </a:tblGrid>
              <a:tr h="562678">
                <a:tc>
                  <a:txBody>
                    <a:bodyPr/>
                    <a:lstStyle/>
                    <a:p>
                      <a:pPr algn="ctr"/>
                      <a:r>
                        <a:rPr lang="en-US" sz="1500">
                          <a:latin typeface="Calibri Light"/>
                        </a:rPr>
                        <a:t>Title </a:t>
                      </a:r>
                    </a:p>
                  </a:txBody>
                  <a:tcPr marL="83566" marR="83566" marT="41783" marB="41783" anchor="ctr"/>
                </a:tc>
                <a:tc>
                  <a:txBody>
                    <a:bodyPr/>
                    <a:lstStyle/>
                    <a:p>
                      <a:pPr algn="ctr"/>
                      <a:r>
                        <a:rPr lang="en-US" sz="1500">
                          <a:latin typeface="Calibri Light"/>
                        </a:rPr>
                        <a:t>Name </a:t>
                      </a:r>
                    </a:p>
                  </a:txBody>
                  <a:tcPr marL="83566" marR="83566" marT="41783" marB="41783" anchor="ctr"/>
                </a:tc>
                <a:tc>
                  <a:txBody>
                    <a:bodyPr/>
                    <a:lstStyle/>
                    <a:p>
                      <a:pPr algn="ctr"/>
                      <a:r>
                        <a:rPr lang="en-US" sz="1500">
                          <a:latin typeface="Calibri Light"/>
                        </a:rPr>
                        <a:t>Role </a:t>
                      </a:r>
                    </a:p>
                  </a:txBody>
                  <a:tcPr marL="83566" marR="83566" marT="41783" marB="41783" anchor="ctr"/>
                </a:tc>
                <a:tc>
                  <a:txBody>
                    <a:bodyPr/>
                    <a:lstStyle/>
                    <a:p>
                      <a:pPr algn="ctr"/>
                      <a:r>
                        <a:rPr lang="en-US" sz="1500">
                          <a:latin typeface="Calibri Light"/>
                        </a:rPr>
                        <a:t>Department </a:t>
                      </a:r>
                    </a:p>
                  </a:txBody>
                  <a:tcPr marL="83566" marR="83566" marT="41783" marB="41783" anchor="ctr"/>
                </a:tc>
                <a:tc>
                  <a:txBody>
                    <a:bodyPr/>
                    <a:lstStyle/>
                    <a:p>
                      <a:pPr algn="ctr"/>
                      <a:r>
                        <a:rPr lang="en-US" sz="1500">
                          <a:latin typeface="Calibri Light"/>
                        </a:rPr>
                        <a:t>Email </a:t>
                      </a:r>
                    </a:p>
                  </a:txBody>
                  <a:tcPr marL="83566" marR="83566" marT="41783" marB="41783" anchor="ctr"/>
                </a:tc>
                <a:tc>
                  <a:txBody>
                    <a:bodyPr/>
                    <a:lstStyle/>
                    <a:p>
                      <a:pPr algn="ctr"/>
                      <a:r>
                        <a:rPr lang="en-US" sz="1500">
                          <a:latin typeface="Calibri Light"/>
                        </a:rPr>
                        <a:t>Phone </a:t>
                      </a:r>
                    </a:p>
                  </a:txBody>
                  <a:tcPr marL="83566" marR="83566" marT="41783" marB="41783" anchor="ctr"/>
                </a:tc>
                <a:extLst>
                  <a:ext uri="{0D108BD9-81ED-4DB2-BD59-A6C34878D82A}">
                    <a16:rowId xmlns:a16="http://schemas.microsoft.com/office/drawing/2014/main" val="3415708890"/>
                  </a:ext>
                </a:extLst>
              </a:tr>
              <a:tr h="562678">
                <a:tc>
                  <a:txBody>
                    <a:bodyPr/>
                    <a:lstStyle/>
                    <a:p>
                      <a:pPr algn="ctr"/>
                      <a:r>
                        <a:rPr lang="en-US" sz="1500">
                          <a:latin typeface="Calibri Light"/>
                        </a:rPr>
                        <a:t>Project Manager  </a:t>
                      </a:r>
                    </a:p>
                  </a:txBody>
                  <a:tcPr marL="83566" marR="83566" marT="41783" marB="41783" anchor="ctr"/>
                </a:tc>
                <a:tc>
                  <a:txBody>
                    <a:bodyPr/>
                    <a:lstStyle/>
                    <a:p>
                      <a:pPr algn="ctr"/>
                      <a:r>
                        <a:rPr lang="en-US" sz="1500">
                          <a:latin typeface="Calibri Light"/>
                        </a:rPr>
                        <a:t>Anchal  </a:t>
                      </a:r>
                    </a:p>
                  </a:txBody>
                  <a:tcPr marL="83566" marR="83566" marT="41783" marB="41783" anchor="ctr"/>
                </a:tc>
                <a:tc>
                  <a:txBody>
                    <a:bodyPr/>
                    <a:lstStyle/>
                    <a:p>
                      <a:pPr algn="ctr"/>
                      <a:r>
                        <a:rPr lang="en-US" sz="1500">
                          <a:latin typeface="Calibri Light"/>
                        </a:rPr>
                        <a:t>Project Manager  </a:t>
                      </a:r>
                    </a:p>
                  </a:txBody>
                  <a:tcPr marL="83566" marR="83566" marT="41783" marB="41783" anchor="ctr"/>
                </a:tc>
                <a:tc>
                  <a:txBody>
                    <a:bodyPr/>
                    <a:lstStyle/>
                    <a:p>
                      <a:pPr algn="ctr"/>
                      <a:r>
                        <a:rPr lang="en-US" sz="1500">
                          <a:latin typeface="Calibri Light"/>
                        </a:rPr>
                        <a:t>PMO </a:t>
                      </a:r>
                    </a:p>
                  </a:txBody>
                  <a:tcPr marL="83566" marR="83566" marT="41783" marB="41783" anchor="ctr"/>
                </a:tc>
                <a:tc>
                  <a:txBody>
                    <a:bodyPr/>
                    <a:lstStyle/>
                    <a:p>
                      <a:pPr algn="ctr"/>
                      <a:r>
                        <a:rPr lang="en-US" sz="1500">
                          <a:latin typeface="Calibri Light"/>
                        </a:rPr>
                        <a:t>a.bhamore@vikes.csuohio.edu </a:t>
                      </a:r>
                    </a:p>
                  </a:txBody>
                  <a:tcPr marL="83566" marR="83566" marT="41783" marB="41783" anchor="ctr"/>
                </a:tc>
                <a:tc>
                  <a:txBody>
                    <a:bodyPr/>
                    <a:lstStyle/>
                    <a:p>
                      <a:pPr algn="ctr"/>
                      <a:r>
                        <a:rPr lang="en-US" sz="1500">
                          <a:latin typeface="Calibri Light"/>
                        </a:rPr>
                        <a:t>2319761325 </a:t>
                      </a:r>
                    </a:p>
                  </a:txBody>
                  <a:tcPr marL="83566" marR="83566" marT="41783" marB="41783" anchor="ctr"/>
                </a:tc>
                <a:extLst>
                  <a:ext uri="{0D108BD9-81ED-4DB2-BD59-A6C34878D82A}">
                    <a16:rowId xmlns:a16="http://schemas.microsoft.com/office/drawing/2014/main" val="221265632"/>
                  </a:ext>
                </a:extLst>
              </a:tr>
              <a:tr h="562678">
                <a:tc>
                  <a:txBody>
                    <a:bodyPr/>
                    <a:lstStyle/>
                    <a:p>
                      <a:pPr algn="ctr"/>
                      <a:r>
                        <a:rPr lang="en-US" sz="1500">
                          <a:latin typeface="Calibri Light"/>
                        </a:rPr>
                        <a:t>Chief Security Analyst </a:t>
                      </a:r>
                    </a:p>
                  </a:txBody>
                  <a:tcPr marL="83566" marR="83566" marT="41783" marB="41783" anchor="ctr"/>
                </a:tc>
                <a:tc>
                  <a:txBody>
                    <a:bodyPr/>
                    <a:lstStyle/>
                    <a:p>
                      <a:pPr algn="ctr"/>
                      <a:r>
                        <a:rPr lang="en-US" sz="1500">
                          <a:latin typeface="Calibri Light"/>
                        </a:rPr>
                        <a:t>Nnadozie </a:t>
                      </a:r>
                    </a:p>
                  </a:txBody>
                  <a:tcPr marL="83566" marR="83566" marT="41783" marB="41783" anchor="ctr"/>
                </a:tc>
                <a:tc>
                  <a:txBody>
                    <a:bodyPr/>
                    <a:lstStyle/>
                    <a:p>
                      <a:pPr algn="ctr"/>
                      <a:r>
                        <a:rPr lang="en-US" sz="1500">
                          <a:latin typeface="Calibri Light"/>
                        </a:rPr>
                        <a:t>Product Manager  </a:t>
                      </a:r>
                    </a:p>
                  </a:txBody>
                  <a:tcPr marL="83566" marR="83566" marT="41783" marB="41783" anchor="ctr"/>
                </a:tc>
                <a:tc>
                  <a:txBody>
                    <a:bodyPr/>
                    <a:lstStyle/>
                    <a:p>
                      <a:pPr algn="ctr"/>
                      <a:r>
                        <a:rPr lang="en-US" sz="1500">
                          <a:latin typeface="Calibri Light"/>
                        </a:rPr>
                        <a:t>IT </a:t>
                      </a:r>
                    </a:p>
                  </a:txBody>
                  <a:tcPr marL="83566" marR="83566" marT="41783" marB="41783" anchor="ctr"/>
                </a:tc>
                <a:tc>
                  <a:txBody>
                    <a:bodyPr/>
                    <a:lstStyle/>
                    <a:p>
                      <a:pPr algn="ctr"/>
                      <a:r>
                        <a:rPr lang="en-US" sz="1500">
                          <a:latin typeface="Calibri Light"/>
                        </a:rPr>
                        <a:t>k.anyanwu@vikes.csuohio.edu </a:t>
                      </a:r>
                    </a:p>
                  </a:txBody>
                  <a:tcPr marL="83566" marR="83566" marT="41783" marB="41783" anchor="ctr"/>
                </a:tc>
                <a:tc>
                  <a:txBody>
                    <a:bodyPr/>
                    <a:lstStyle/>
                    <a:p>
                      <a:pPr algn="ctr"/>
                      <a:r>
                        <a:rPr lang="en-US" sz="1500">
                          <a:latin typeface="Calibri Light"/>
                        </a:rPr>
                        <a:t>6268171326 </a:t>
                      </a:r>
                    </a:p>
                  </a:txBody>
                  <a:tcPr marL="83566" marR="83566" marT="41783" marB="41783" anchor="ctr"/>
                </a:tc>
                <a:extLst>
                  <a:ext uri="{0D108BD9-81ED-4DB2-BD59-A6C34878D82A}">
                    <a16:rowId xmlns:a16="http://schemas.microsoft.com/office/drawing/2014/main" val="518393138"/>
                  </a:ext>
                </a:extLst>
              </a:tr>
              <a:tr h="785520">
                <a:tc>
                  <a:txBody>
                    <a:bodyPr/>
                    <a:lstStyle/>
                    <a:p>
                      <a:pPr algn="ctr"/>
                      <a:r>
                        <a:rPr lang="en-US" sz="1500">
                          <a:latin typeface="Calibri Light"/>
                        </a:rPr>
                        <a:t>Senior AWS networking Analyst </a:t>
                      </a:r>
                    </a:p>
                  </a:txBody>
                  <a:tcPr marL="83566" marR="83566" marT="41783" marB="41783" anchor="ctr"/>
                </a:tc>
                <a:tc>
                  <a:txBody>
                    <a:bodyPr/>
                    <a:lstStyle/>
                    <a:p>
                      <a:pPr algn="ctr"/>
                      <a:r>
                        <a:rPr lang="en-US" sz="1500">
                          <a:latin typeface="Calibri Light"/>
                        </a:rPr>
                        <a:t>Felix  </a:t>
                      </a:r>
                    </a:p>
                  </a:txBody>
                  <a:tcPr marL="83566" marR="83566" marT="41783" marB="41783" anchor="ctr"/>
                </a:tc>
                <a:tc>
                  <a:txBody>
                    <a:bodyPr/>
                    <a:lstStyle/>
                    <a:p>
                      <a:pPr algn="ctr"/>
                      <a:r>
                        <a:rPr lang="en-US" sz="1500">
                          <a:latin typeface="Calibri Light"/>
                        </a:rPr>
                        <a:t>Technical Manager </a:t>
                      </a:r>
                    </a:p>
                  </a:txBody>
                  <a:tcPr marL="83566" marR="83566" marT="41783" marB="41783" anchor="ctr"/>
                </a:tc>
                <a:tc>
                  <a:txBody>
                    <a:bodyPr/>
                    <a:lstStyle/>
                    <a:p>
                      <a:pPr algn="ctr"/>
                      <a:r>
                        <a:rPr lang="en-US" sz="1500">
                          <a:latin typeface="Calibri Light"/>
                        </a:rPr>
                        <a:t>IT </a:t>
                      </a:r>
                    </a:p>
                  </a:txBody>
                  <a:tcPr marL="83566" marR="83566" marT="41783" marB="41783" anchor="ctr"/>
                </a:tc>
                <a:tc>
                  <a:txBody>
                    <a:bodyPr/>
                    <a:lstStyle/>
                    <a:p>
                      <a:pPr algn="ctr"/>
                      <a:r>
                        <a:rPr lang="en-US" sz="1500">
                          <a:latin typeface="Calibri Light"/>
                        </a:rPr>
                        <a:t>f.asarebediako@vikes.csuohio.edu </a:t>
                      </a:r>
                    </a:p>
                  </a:txBody>
                  <a:tcPr marL="83566" marR="83566" marT="41783" marB="41783" anchor="ctr"/>
                </a:tc>
                <a:tc>
                  <a:txBody>
                    <a:bodyPr/>
                    <a:lstStyle/>
                    <a:p>
                      <a:pPr algn="ctr"/>
                      <a:r>
                        <a:rPr lang="en-US" sz="1500">
                          <a:latin typeface="Calibri Light"/>
                        </a:rPr>
                        <a:t>1275864932 </a:t>
                      </a:r>
                    </a:p>
                  </a:txBody>
                  <a:tcPr marL="83566" marR="83566" marT="41783" marB="41783" anchor="ctr"/>
                </a:tc>
                <a:extLst>
                  <a:ext uri="{0D108BD9-81ED-4DB2-BD59-A6C34878D82A}">
                    <a16:rowId xmlns:a16="http://schemas.microsoft.com/office/drawing/2014/main" val="533878579"/>
                  </a:ext>
                </a:extLst>
              </a:tr>
              <a:tr h="562678">
                <a:tc>
                  <a:txBody>
                    <a:bodyPr/>
                    <a:lstStyle/>
                    <a:p>
                      <a:pPr algn="ctr"/>
                      <a:r>
                        <a:rPr lang="en-US" sz="1500">
                          <a:latin typeface="Calibri Light"/>
                        </a:rPr>
                        <a:t>Sysops Admin </a:t>
                      </a:r>
                    </a:p>
                  </a:txBody>
                  <a:tcPr marL="83566" marR="83566" marT="41783" marB="41783" anchor="ctr"/>
                </a:tc>
                <a:tc>
                  <a:txBody>
                    <a:bodyPr/>
                    <a:lstStyle/>
                    <a:p>
                      <a:pPr algn="ctr"/>
                      <a:r>
                        <a:rPr lang="en-US" sz="1500">
                          <a:latin typeface="Calibri Light"/>
                        </a:rPr>
                        <a:t>Mrunali  </a:t>
                      </a:r>
                    </a:p>
                  </a:txBody>
                  <a:tcPr marL="83566" marR="83566" marT="41783" marB="41783" anchor="ctr"/>
                </a:tc>
                <a:tc>
                  <a:txBody>
                    <a:bodyPr/>
                    <a:lstStyle/>
                    <a:p>
                      <a:pPr algn="ctr"/>
                      <a:r>
                        <a:rPr lang="en-US" sz="1500">
                          <a:latin typeface="Calibri Light"/>
                        </a:rPr>
                        <a:t>Program Manager </a:t>
                      </a:r>
                    </a:p>
                  </a:txBody>
                  <a:tcPr marL="83566" marR="83566" marT="41783" marB="41783" anchor="ctr"/>
                </a:tc>
                <a:tc>
                  <a:txBody>
                    <a:bodyPr/>
                    <a:lstStyle/>
                    <a:p>
                      <a:pPr algn="ctr"/>
                      <a:r>
                        <a:rPr lang="en-US" sz="1500">
                          <a:latin typeface="Calibri Light"/>
                        </a:rPr>
                        <a:t>PMO </a:t>
                      </a:r>
                    </a:p>
                  </a:txBody>
                  <a:tcPr marL="83566" marR="83566" marT="41783" marB="41783" anchor="ctr"/>
                </a:tc>
                <a:tc>
                  <a:txBody>
                    <a:bodyPr/>
                    <a:lstStyle/>
                    <a:p>
                      <a:pPr algn="ctr"/>
                      <a:r>
                        <a:rPr lang="en-US" sz="1500">
                          <a:latin typeface="Calibri Light"/>
                        </a:rPr>
                        <a:t>m.patel46@vikes.csuohio.edu </a:t>
                      </a:r>
                    </a:p>
                  </a:txBody>
                  <a:tcPr marL="83566" marR="83566" marT="41783" marB="41783" anchor="ctr"/>
                </a:tc>
                <a:tc>
                  <a:txBody>
                    <a:bodyPr/>
                    <a:lstStyle/>
                    <a:p>
                      <a:pPr algn="ctr"/>
                      <a:r>
                        <a:rPr lang="en-US" sz="1500">
                          <a:latin typeface="Calibri Light"/>
                        </a:rPr>
                        <a:t>1236798098 </a:t>
                      </a:r>
                    </a:p>
                  </a:txBody>
                  <a:tcPr marL="83566" marR="83566" marT="41783" marB="41783" anchor="ctr"/>
                </a:tc>
                <a:extLst>
                  <a:ext uri="{0D108BD9-81ED-4DB2-BD59-A6C34878D82A}">
                    <a16:rowId xmlns:a16="http://schemas.microsoft.com/office/drawing/2014/main" val="1312735029"/>
                  </a:ext>
                </a:extLst>
              </a:tr>
              <a:tr h="562678">
                <a:tc>
                  <a:txBody>
                    <a:bodyPr/>
                    <a:lstStyle/>
                    <a:p>
                      <a:pPr algn="ctr"/>
                      <a:r>
                        <a:rPr lang="en-US" sz="1500">
                          <a:latin typeface="Calibri Light"/>
                        </a:rPr>
                        <a:t>AWS Big Data Analyst </a:t>
                      </a:r>
                    </a:p>
                  </a:txBody>
                  <a:tcPr marL="83566" marR="83566" marT="41783" marB="41783" anchor="ctr"/>
                </a:tc>
                <a:tc>
                  <a:txBody>
                    <a:bodyPr/>
                    <a:lstStyle/>
                    <a:p>
                      <a:pPr algn="ctr"/>
                      <a:r>
                        <a:rPr lang="en-US" sz="1500">
                          <a:latin typeface="Calibri Light"/>
                        </a:rPr>
                        <a:t>Roshani </a:t>
                      </a:r>
                    </a:p>
                  </a:txBody>
                  <a:tcPr marL="83566" marR="83566" marT="41783" marB="41783" anchor="ctr"/>
                </a:tc>
                <a:tc>
                  <a:txBody>
                    <a:bodyPr/>
                    <a:lstStyle/>
                    <a:p>
                      <a:pPr algn="ctr"/>
                      <a:r>
                        <a:rPr lang="en-US" sz="1500">
                          <a:latin typeface="Calibri Light"/>
                        </a:rPr>
                        <a:t>Data Scientist </a:t>
                      </a:r>
                    </a:p>
                  </a:txBody>
                  <a:tcPr marL="83566" marR="83566" marT="41783" marB="41783" anchor="ctr"/>
                </a:tc>
                <a:tc>
                  <a:txBody>
                    <a:bodyPr/>
                    <a:lstStyle/>
                    <a:p>
                      <a:pPr algn="ctr"/>
                      <a:r>
                        <a:rPr lang="en-US" sz="1500">
                          <a:latin typeface="Calibri Light"/>
                        </a:rPr>
                        <a:t>IT </a:t>
                      </a:r>
                    </a:p>
                  </a:txBody>
                  <a:tcPr marL="83566" marR="83566" marT="41783" marB="41783" anchor="ctr"/>
                </a:tc>
                <a:tc>
                  <a:txBody>
                    <a:bodyPr/>
                    <a:lstStyle/>
                    <a:p>
                      <a:pPr algn="ctr"/>
                      <a:r>
                        <a:rPr lang="en-US" sz="1500">
                          <a:latin typeface="Calibri Light"/>
                        </a:rPr>
                        <a:t>r.sonawane83@vikes.csuohio.edu </a:t>
                      </a:r>
                    </a:p>
                  </a:txBody>
                  <a:tcPr marL="83566" marR="83566" marT="41783" marB="41783" anchor="ctr"/>
                </a:tc>
                <a:tc>
                  <a:txBody>
                    <a:bodyPr/>
                    <a:lstStyle/>
                    <a:p>
                      <a:pPr algn="ctr"/>
                      <a:r>
                        <a:rPr lang="en-US" sz="1500">
                          <a:latin typeface="Calibri Light"/>
                        </a:rPr>
                        <a:t>9876543209 </a:t>
                      </a:r>
                    </a:p>
                  </a:txBody>
                  <a:tcPr marL="83566" marR="83566" marT="41783" marB="41783" anchor="ctr"/>
                </a:tc>
                <a:extLst>
                  <a:ext uri="{0D108BD9-81ED-4DB2-BD59-A6C34878D82A}">
                    <a16:rowId xmlns:a16="http://schemas.microsoft.com/office/drawing/2014/main" val="1329711998"/>
                  </a:ext>
                </a:extLst>
              </a:tr>
              <a:tr h="562678">
                <a:tc>
                  <a:txBody>
                    <a:bodyPr/>
                    <a:lstStyle/>
                    <a:p>
                      <a:pPr algn="ctr"/>
                      <a:r>
                        <a:rPr lang="en-US" sz="1500">
                          <a:latin typeface="Calibri Light"/>
                        </a:rPr>
                        <a:t>Senior AWS Cloud Architect </a:t>
                      </a:r>
                    </a:p>
                  </a:txBody>
                  <a:tcPr marL="83566" marR="83566" marT="41783" marB="41783" anchor="ctr"/>
                </a:tc>
                <a:tc>
                  <a:txBody>
                    <a:bodyPr/>
                    <a:lstStyle/>
                    <a:p>
                      <a:pPr algn="ctr"/>
                      <a:r>
                        <a:rPr lang="en-US" sz="1500">
                          <a:latin typeface="Calibri Light"/>
                        </a:rPr>
                        <a:t>Namratha </a:t>
                      </a:r>
                    </a:p>
                  </a:txBody>
                  <a:tcPr marL="83566" marR="83566" marT="41783" marB="41783" anchor="ctr"/>
                </a:tc>
                <a:tc>
                  <a:txBody>
                    <a:bodyPr/>
                    <a:lstStyle/>
                    <a:p>
                      <a:pPr algn="ctr"/>
                      <a:r>
                        <a:rPr lang="en-US" sz="1500">
                          <a:latin typeface="Calibri Light"/>
                        </a:rPr>
                        <a:t>Technical Lead </a:t>
                      </a:r>
                    </a:p>
                  </a:txBody>
                  <a:tcPr marL="83566" marR="83566" marT="41783" marB="41783" anchor="ctr"/>
                </a:tc>
                <a:tc>
                  <a:txBody>
                    <a:bodyPr/>
                    <a:lstStyle/>
                    <a:p>
                      <a:pPr algn="ctr"/>
                      <a:r>
                        <a:rPr lang="en-US" sz="1500">
                          <a:latin typeface="Calibri Light"/>
                        </a:rPr>
                        <a:t>IT </a:t>
                      </a:r>
                    </a:p>
                  </a:txBody>
                  <a:tcPr marL="83566" marR="83566" marT="41783" marB="41783" anchor="ctr"/>
                </a:tc>
                <a:tc>
                  <a:txBody>
                    <a:bodyPr/>
                    <a:lstStyle/>
                    <a:p>
                      <a:pPr algn="ctr"/>
                      <a:r>
                        <a:rPr lang="en-US" sz="1500">
                          <a:latin typeface="Calibri Light"/>
                        </a:rPr>
                        <a:t>n.shamirpet22@vikes.csuohio.edu </a:t>
                      </a:r>
                    </a:p>
                  </a:txBody>
                  <a:tcPr marL="83566" marR="83566" marT="41783" marB="41783" anchor="ctr"/>
                </a:tc>
                <a:tc>
                  <a:txBody>
                    <a:bodyPr/>
                    <a:lstStyle/>
                    <a:p>
                      <a:pPr algn="ctr"/>
                      <a:r>
                        <a:rPr lang="en-US" sz="1500">
                          <a:latin typeface="Calibri Light"/>
                        </a:rPr>
                        <a:t>3287659832 </a:t>
                      </a:r>
                    </a:p>
                  </a:txBody>
                  <a:tcPr marL="83566" marR="83566" marT="41783" marB="41783" anchor="ctr"/>
                </a:tc>
                <a:extLst>
                  <a:ext uri="{0D108BD9-81ED-4DB2-BD59-A6C34878D82A}">
                    <a16:rowId xmlns:a16="http://schemas.microsoft.com/office/drawing/2014/main" val="2078164830"/>
                  </a:ext>
                </a:extLst>
              </a:tr>
            </a:tbl>
          </a:graphicData>
        </a:graphic>
      </p:graphicFrame>
    </p:spTree>
    <p:extLst>
      <p:ext uri="{BB962C8B-B14F-4D97-AF65-F5344CB8AC3E}">
        <p14:creationId xmlns:p14="http://schemas.microsoft.com/office/powerpoint/2010/main" val="40216302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20">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02D4FD-0BA2-49D4-96EB-BA09C314E53E}"/>
              </a:ext>
            </a:extLst>
          </p:cNvPr>
          <p:cNvSpPr>
            <a:spLocks noGrp="1"/>
          </p:cNvSpPr>
          <p:nvPr>
            <p:ph type="ctrTitle"/>
          </p:nvPr>
        </p:nvSpPr>
        <p:spPr>
          <a:xfrm>
            <a:off x="556532" y="643467"/>
            <a:ext cx="11210925" cy="744836"/>
          </a:xfrm>
        </p:spPr>
        <p:txBody>
          <a:bodyPr vert="horz" lIns="91440" tIns="45720" rIns="91440" bIns="45720" rtlCol="0" anchor="ctr">
            <a:normAutofit/>
          </a:bodyPr>
          <a:lstStyle/>
          <a:p>
            <a:r>
              <a:rPr lang="en-US" sz="4000" b="1">
                <a:solidFill>
                  <a:schemeClr val="bg1"/>
                </a:solidFill>
              </a:rPr>
              <a:t>COMMUNICATION MANAGEMENT MATRIX</a:t>
            </a:r>
            <a:endParaRPr lang="en-US" sz="4000" b="1" kern="1200">
              <a:solidFill>
                <a:schemeClr val="bg1"/>
              </a:solidFill>
              <a:latin typeface="+mj-lt"/>
              <a:cs typeface="Calibri Light"/>
            </a:endParaRPr>
          </a:p>
        </p:txBody>
      </p:sp>
      <p:graphicFrame>
        <p:nvGraphicFramePr>
          <p:cNvPr id="5" name="Table 4">
            <a:extLst>
              <a:ext uri="{FF2B5EF4-FFF2-40B4-BE49-F238E27FC236}">
                <a16:creationId xmlns:a16="http://schemas.microsoft.com/office/drawing/2014/main" id="{D1318A66-DB2D-4B11-BF4A-E8D2320F9F9B}"/>
              </a:ext>
            </a:extLst>
          </p:cNvPr>
          <p:cNvGraphicFramePr>
            <a:graphicFrameLocks noGrp="1"/>
          </p:cNvGraphicFramePr>
          <p:nvPr>
            <p:extLst>
              <p:ext uri="{D42A27DB-BD31-4B8C-83A1-F6EECF244321}">
                <p14:modId xmlns:p14="http://schemas.microsoft.com/office/powerpoint/2010/main" val="1904753154"/>
              </p:ext>
            </p:extLst>
          </p:nvPr>
        </p:nvGraphicFramePr>
        <p:xfrm>
          <a:off x="607218" y="1678781"/>
          <a:ext cx="10628335" cy="4905413"/>
        </p:xfrm>
        <a:graphic>
          <a:graphicData uri="http://schemas.openxmlformats.org/drawingml/2006/table">
            <a:tbl>
              <a:tblPr firstRow="1" bandRow="1">
                <a:tableStyleId>{72833802-FEF1-4C79-8D5D-14CF1EAF98D9}</a:tableStyleId>
              </a:tblPr>
              <a:tblGrid>
                <a:gridCol w="2082164">
                  <a:extLst>
                    <a:ext uri="{9D8B030D-6E8A-4147-A177-3AD203B41FA5}">
                      <a16:colId xmlns:a16="http://schemas.microsoft.com/office/drawing/2014/main" val="1024292382"/>
                    </a:ext>
                  </a:extLst>
                </a:gridCol>
                <a:gridCol w="1815648">
                  <a:extLst>
                    <a:ext uri="{9D8B030D-6E8A-4147-A177-3AD203B41FA5}">
                      <a16:colId xmlns:a16="http://schemas.microsoft.com/office/drawing/2014/main" val="3793929293"/>
                    </a:ext>
                  </a:extLst>
                </a:gridCol>
                <a:gridCol w="2481939">
                  <a:extLst>
                    <a:ext uri="{9D8B030D-6E8A-4147-A177-3AD203B41FA5}">
                      <a16:colId xmlns:a16="http://schemas.microsoft.com/office/drawing/2014/main" val="1705412558"/>
                    </a:ext>
                  </a:extLst>
                </a:gridCol>
                <a:gridCol w="2198766">
                  <a:extLst>
                    <a:ext uri="{9D8B030D-6E8A-4147-A177-3AD203B41FA5}">
                      <a16:colId xmlns:a16="http://schemas.microsoft.com/office/drawing/2014/main" val="1056125414"/>
                    </a:ext>
                  </a:extLst>
                </a:gridCol>
                <a:gridCol w="2049818">
                  <a:extLst>
                    <a:ext uri="{9D8B030D-6E8A-4147-A177-3AD203B41FA5}">
                      <a16:colId xmlns:a16="http://schemas.microsoft.com/office/drawing/2014/main" val="1034311526"/>
                    </a:ext>
                  </a:extLst>
                </a:gridCol>
              </a:tblGrid>
              <a:tr h="517921">
                <a:tc>
                  <a:txBody>
                    <a:bodyPr/>
                    <a:lstStyle/>
                    <a:p>
                      <a:pPr algn="ctr" rtl="0" fontAlgn="base"/>
                      <a:r>
                        <a:rPr lang="en-US" sz="1400">
                          <a:effectLst/>
                          <a:latin typeface="Calibri Light"/>
                        </a:rPr>
                        <a:t>Purpose of  </a:t>
                      </a:r>
                    </a:p>
                    <a:p>
                      <a:pPr algn="ctr" rtl="0" fontAlgn="base"/>
                      <a:r>
                        <a:rPr lang="en-US" sz="1400">
                          <a:effectLst/>
                          <a:latin typeface="Calibri Light"/>
                        </a:rPr>
                        <a:t>communication </a:t>
                      </a:r>
                    </a:p>
                  </a:txBody>
                  <a:tcPr marL="85417" marR="85417" marT="42709" marB="42709"/>
                </a:tc>
                <a:tc>
                  <a:txBody>
                    <a:bodyPr/>
                    <a:lstStyle/>
                    <a:p>
                      <a:pPr algn="ctr" rtl="0" fontAlgn="base"/>
                      <a:r>
                        <a:rPr lang="en-US" sz="1400">
                          <a:effectLst/>
                          <a:latin typeface="Calibri Light"/>
                        </a:rPr>
                        <a:t>Schedule Frequency </a:t>
                      </a:r>
                    </a:p>
                  </a:txBody>
                  <a:tcPr marL="85417" marR="85417" marT="42709" marB="42709"/>
                </a:tc>
                <a:tc>
                  <a:txBody>
                    <a:bodyPr/>
                    <a:lstStyle/>
                    <a:p>
                      <a:pPr algn="ctr" rtl="0" fontAlgn="base"/>
                      <a:r>
                        <a:rPr lang="en-US" sz="1400">
                          <a:effectLst/>
                          <a:latin typeface="Calibri Light"/>
                        </a:rPr>
                        <a:t>Media / Mechanism Used </a:t>
                      </a:r>
                    </a:p>
                  </a:txBody>
                  <a:tcPr marL="85417" marR="85417" marT="42709" marB="42709"/>
                </a:tc>
                <a:tc>
                  <a:txBody>
                    <a:bodyPr/>
                    <a:lstStyle/>
                    <a:p>
                      <a:pPr algn="ctr" rtl="0" fontAlgn="base"/>
                      <a:r>
                        <a:rPr lang="en-US" sz="1400">
                          <a:effectLst/>
                          <a:latin typeface="Calibri Light"/>
                        </a:rPr>
                        <a:t>Called by </a:t>
                      </a:r>
                    </a:p>
                  </a:txBody>
                  <a:tcPr marL="85417" marR="85417" marT="42709" marB="42709"/>
                </a:tc>
                <a:tc>
                  <a:txBody>
                    <a:bodyPr/>
                    <a:lstStyle/>
                    <a:p>
                      <a:pPr algn="ctr" rtl="0" fontAlgn="base"/>
                      <a:r>
                        <a:rPr lang="en-US" sz="1400">
                          <a:effectLst/>
                          <a:latin typeface="Calibri Light"/>
                        </a:rPr>
                        <a:t>Participant </a:t>
                      </a:r>
                    </a:p>
                  </a:txBody>
                  <a:tcPr marL="85417" marR="85417" marT="42709" marB="42709"/>
                </a:tc>
                <a:extLst>
                  <a:ext uri="{0D108BD9-81ED-4DB2-BD59-A6C34878D82A}">
                    <a16:rowId xmlns:a16="http://schemas.microsoft.com/office/drawing/2014/main" val="1453551995"/>
                  </a:ext>
                </a:extLst>
              </a:tr>
              <a:tr h="328666">
                <a:tc>
                  <a:txBody>
                    <a:bodyPr/>
                    <a:lstStyle/>
                    <a:p>
                      <a:pPr algn="ctr" rtl="0" fontAlgn="base"/>
                      <a:r>
                        <a:rPr lang="en-US" sz="1400">
                          <a:effectLst/>
                          <a:latin typeface="Calibri Light"/>
                        </a:rPr>
                        <a:t>Kickoff Meeting  </a:t>
                      </a:r>
                    </a:p>
                  </a:txBody>
                  <a:tcPr marL="85417" marR="85417" marT="42709" marB="42709"/>
                </a:tc>
                <a:tc>
                  <a:txBody>
                    <a:bodyPr/>
                    <a:lstStyle/>
                    <a:p>
                      <a:pPr algn="ctr" rtl="0" fontAlgn="base"/>
                      <a:r>
                        <a:rPr lang="en-US" sz="1400">
                          <a:effectLst/>
                          <a:latin typeface="Calibri Light"/>
                        </a:rPr>
                        <a:t>Once </a:t>
                      </a:r>
                    </a:p>
                  </a:txBody>
                  <a:tcPr marL="85417" marR="85417" marT="42709" marB="42709"/>
                </a:tc>
                <a:tc>
                  <a:txBody>
                    <a:bodyPr/>
                    <a:lstStyle/>
                    <a:p>
                      <a:pPr algn="ctr" rtl="0" fontAlgn="base"/>
                      <a:r>
                        <a:rPr lang="en-US" sz="1400">
                          <a:effectLst/>
                          <a:latin typeface="Calibri Light"/>
                        </a:rPr>
                        <a:t>Zoom, Google Docs </a:t>
                      </a:r>
                    </a:p>
                  </a:txBody>
                  <a:tcPr marL="85417" marR="85417" marT="42709" marB="42709"/>
                </a:tc>
                <a:tc>
                  <a:txBody>
                    <a:bodyPr/>
                    <a:lstStyle/>
                    <a:p>
                      <a:pPr algn="ctr" rtl="0" fontAlgn="base"/>
                      <a:r>
                        <a:rPr lang="en-US" sz="1400">
                          <a:effectLst/>
                          <a:latin typeface="Calibri Light"/>
                        </a:rPr>
                        <a:t>Project Manager </a:t>
                      </a:r>
                    </a:p>
                  </a:txBody>
                  <a:tcPr marL="85417" marR="85417" marT="42709" marB="42709"/>
                </a:tc>
                <a:tc>
                  <a:txBody>
                    <a:bodyPr/>
                    <a:lstStyle/>
                    <a:p>
                      <a:pPr algn="ctr" rtl="0" fontAlgn="base"/>
                      <a:r>
                        <a:rPr lang="en-US" sz="1400">
                          <a:effectLst/>
                          <a:latin typeface="Calibri Light"/>
                        </a:rPr>
                        <a:t>Full Project Team </a:t>
                      </a:r>
                    </a:p>
                  </a:txBody>
                  <a:tcPr marL="85417" marR="85417" marT="42709" marB="42709"/>
                </a:tc>
                <a:extLst>
                  <a:ext uri="{0D108BD9-81ED-4DB2-BD59-A6C34878D82A}">
                    <a16:rowId xmlns:a16="http://schemas.microsoft.com/office/drawing/2014/main" val="193319623"/>
                  </a:ext>
                </a:extLst>
              </a:tr>
              <a:tr h="511258">
                <a:tc>
                  <a:txBody>
                    <a:bodyPr/>
                    <a:lstStyle/>
                    <a:p>
                      <a:pPr algn="ctr" rtl="0" fontAlgn="base"/>
                      <a:r>
                        <a:rPr lang="en-US" sz="1400">
                          <a:effectLst/>
                          <a:latin typeface="Calibri Light"/>
                        </a:rPr>
                        <a:t>Report Status  </a:t>
                      </a:r>
                    </a:p>
                  </a:txBody>
                  <a:tcPr marL="85417" marR="85417" marT="42709" marB="42709"/>
                </a:tc>
                <a:tc>
                  <a:txBody>
                    <a:bodyPr/>
                    <a:lstStyle/>
                    <a:p>
                      <a:pPr algn="ctr" rtl="0" fontAlgn="base"/>
                      <a:r>
                        <a:rPr lang="en-US" sz="1400">
                          <a:effectLst/>
                          <a:latin typeface="Calibri Light"/>
                        </a:rPr>
                        <a:t>Monthly </a:t>
                      </a:r>
                    </a:p>
                  </a:txBody>
                  <a:tcPr marL="85417" marR="85417" marT="42709" marB="42709"/>
                </a:tc>
                <a:tc>
                  <a:txBody>
                    <a:bodyPr/>
                    <a:lstStyle/>
                    <a:p>
                      <a:pPr algn="ctr" rtl="0" fontAlgn="base"/>
                      <a:r>
                        <a:rPr lang="en-US" sz="1400">
                          <a:effectLst/>
                          <a:latin typeface="Calibri Light"/>
                        </a:rPr>
                        <a:t>Zoom, </a:t>
                      </a:r>
                    </a:p>
                    <a:p>
                      <a:pPr algn="ctr" rtl="0" fontAlgn="base"/>
                      <a:r>
                        <a:rPr lang="en-US" sz="1400">
                          <a:effectLst/>
                          <a:latin typeface="Calibri Light"/>
                        </a:rPr>
                        <a:t>ProjectManager.com </a:t>
                      </a:r>
                    </a:p>
                  </a:txBody>
                  <a:tcPr marL="85417" marR="85417" marT="42709" marB="42709"/>
                </a:tc>
                <a:tc>
                  <a:txBody>
                    <a:bodyPr/>
                    <a:lstStyle/>
                    <a:p>
                      <a:pPr algn="ctr" rtl="0" fontAlgn="base"/>
                      <a:r>
                        <a:rPr lang="en-US" sz="1400">
                          <a:effectLst/>
                          <a:latin typeface="Calibri Light"/>
                        </a:rPr>
                        <a:t>Anyone </a:t>
                      </a:r>
                    </a:p>
                  </a:txBody>
                  <a:tcPr marL="85417" marR="85417" marT="42709" marB="42709"/>
                </a:tc>
                <a:tc>
                  <a:txBody>
                    <a:bodyPr/>
                    <a:lstStyle/>
                    <a:p>
                      <a:pPr algn="ctr" rtl="0" fontAlgn="base"/>
                      <a:r>
                        <a:rPr lang="en-US" sz="1400">
                          <a:effectLst/>
                          <a:latin typeface="Calibri Light"/>
                        </a:rPr>
                        <a:t>Required Team Members </a:t>
                      </a:r>
                    </a:p>
                  </a:txBody>
                  <a:tcPr marL="85417" marR="85417" marT="42709" marB="42709"/>
                </a:tc>
                <a:extLst>
                  <a:ext uri="{0D108BD9-81ED-4DB2-BD59-A6C34878D82A}">
                    <a16:rowId xmlns:a16="http://schemas.microsoft.com/office/drawing/2014/main" val="482673460"/>
                  </a:ext>
                </a:extLst>
              </a:tr>
              <a:tr h="328666">
                <a:tc>
                  <a:txBody>
                    <a:bodyPr/>
                    <a:lstStyle/>
                    <a:p>
                      <a:pPr algn="ctr" rtl="0" fontAlgn="base"/>
                      <a:r>
                        <a:rPr lang="en-US" sz="1400">
                          <a:effectLst/>
                          <a:latin typeface="Calibri Light"/>
                        </a:rPr>
                        <a:t>Team Project Proposal </a:t>
                      </a:r>
                    </a:p>
                  </a:txBody>
                  <a:tcPr marL="85417" marR="85417" marT="42709" marB="42709"/>
                </a:tc>
                <a:tc>
                  <a:txBody>
                    <a:bodyPr/>
                    <a:lstStyle/>
                    <a:p>
                      <a:pPr algn="ctr" rtl="0" fontAlgn="base"/>
                      <a:r>
                        <a:rPr lang="en-US" sz="1400">
                          <a:effectLst/>
                          <a:latin typeface="Calibri Light"/>
                        </a:rPr>
                        <a:t>Twice </a:t>
                      </a:r>
                    </a:p>
                  </a:txBody>
                  <a:tcPr marL="85417" marR="85417" marT="42709" marB="42709"/>
                </a:tc>
                <a:tc>
                  <a:txBody>
                    <a:bodyPr/>
                    <a:lstStyle/>
                    <a:p>
                      <a:pPr algn="ctr" rtl="0" fontAlgn="base"/>
                      <a:r>
                        <a:rPr lang="en-US" sz="1400">
                          <a:effectLst/>
                          <a:latin typeface="Calibri Light"/>
                        </a:rPr>
                        <a:t>Google Docs, Zoom </a:t>
                      </a:r>
                    </a:p>
                  </a:txBody>
                  <a:tcPr marL="85417" marR="85417" marT="42709" marB="42709"/>
                </a:tc>
                <a:tc>
                  <a:txBody>
                    <a:bodyPr/>
                    <a:lstStyle/>
                    <a:p>
                      <a:pPr algn="ctr" rtl="0" fontAlgn="base"/>
                      <a:r>
                        <a:rPr lang="en-US" sz="1400">
                          <a:effectLst/>
                          <a:latin typeface="Calibri Light"/>
                        </a:rPr>
                        <a:t>Project Manager </a:t>
                      </a:r>
                    </a:p>
                  </a:txBody>
                  <a:tcPr marL="85417" marR="85417" marT="42709" marB="42709"/>
                </a:tc>
                <a:tc>
                  <a:txBody>
                    <a:bodyPr/>
                    <a:lstStyle/>
                    <a:p>
                      <a:pPr algn="ctr" rtl="0" fontAlgn="base"/>
                      <a:r>
                        <a:rPr lang="en-US" sz="1400">
                          <a:effectLst/>
                          <a:latin typeface="Calibri Light"/>
                        </a:rPr>
                        <a:t>Full Project Team </a:t>
                      </a:r>
                    </a:p>
                  </a:txBody>
                  <a:tcPr marL="85417" marR="85417" marT="42709" marB="42709"/>
                </a:tc>
                <a:extLst>
                  <a:ext uri="{0D108BD9-81ED-4DB2-BD59-A6C34878D82A}">
                    <a16:rowId xmlns:a16="http://schemas.microsoft.com/office/drawing/2014/main" val="3740088812"/>
                  </a:ext>
                </a:extLst>
              </a:tr>
              <a:tr h="328666">
                <a:tc>
                  <a:txBody>
                    <a:bodyPr/>
                    <a:lstStyle/>
                    <a:p>
                      <a:pPr algn="ctr" rtl="0" fontAlgn="base"/>
                      <a:r>
                        <a:rPr lang="en-US" sz="1400">
                          <a:effectLst/>
                          <a:latin typeface="Calibri Light"/>
                        </a:rPr>
                        <a:t>Status Updates  </a:t>
                      </a:r>
                    </a:p>
                  </a:txBody>
                  <a:tcPr marL="85417" marR="85417" marT="42709" marB="42709"/>
                </a:tc>
                <a:tc>
                  <a:txBody>
                    <a:bodyPr/>
                    <a:lstStyle/>
                    <a:p>
                      <a:pPr algn="ctr" rtl="0" fontAlgn="base"/>
                      <a:r>
                        <a:rPr lang="en-US" sz="1400">
                          <a:effectLst/>
                          <a:latin typeface="Calibri Light"/>
                        </a:rPr>
                        <a:t>Weekly  </a:t>
                      </a:r>
                    </a:p>
                  </a:txBody>
                  <a:tcPr marL="85417" marR="85417" marT="42709" marB="42709"/>
                </a:tc>
                <a:tc>
                  <a:txBody>
                    <a:bodyPr/>
                    <a:lstStyle/>
                    <a:p>
                      <a:pPr algn="ctr" rtl="0" fontAlgn="base"/>
                      <a:r>
                        <a:rPr lang="en-US" sz="1400">
                          <a:effectLst/>
                          <a:latin typeface="Calibri Light"/>
                        </a:rPr>
                        <a:t>ProjectManager.com </a:t>
                      </a:r>
                    </a:p>
                  </a:txBody>
                  <a:tcPr marL="85417" marR="85417" marT="42709" marB="42709"/>
                </a:tc>
                <a:tc>
                  <a:txBody>
                    <a:bodyPr/>
                    <a:lstStyle/>
                    <a:p>
                      <a:pPr algn="ctr" rtl="0" fontAlgn="base"/>
                      <a:r>
                        <a:rPr lang="en-US" sz="1400">
                          <a:effectLst/>
                          <a:latin typeface="Calibri Light"/>
                        </a:rPr>
                        <a:t>Project Manager  </a:t>
                      </a:r>
                    </a:p>
                  </a:txBody>
                  <a:tcPr marL="85417" marR="85417" marT="42709" marB="42709"/>
                </a:tc>
                <a:tc>
                  <a:txBody>
                    <a:bodyPr/>
                    <a:lstStyle/>
                    <a:p>
                      <a:pPr algn="ctr" rtl="0" fontAlgn="base"/>
                      <a:r>
                        <a:rPr lang="en-US" sz="1400">
                          <a:effectLst/>
                          <a:latin typeface="Calibri Light"/>
                        </a:rPr>
                        <a:t>Full Project Team  </a:t>
                      </a:r>
                    </a:p>
                  </a:txBody>
                  <a:tcPr marL="85417" marR="85417" marT="42709" marB="42709"/>
                </a:tc>
                <a:extLst>
                  <a:ext uri="{0D108BD9-81ED-4DB2-BD59-A6C34878D82A}">
                    <a16:rowId xmlns:a16="http://schemas.microsoft.com/office/drawing/2014/main" val="2396050790"/>
                  </a:ext>
                </a:extLst>
              </a:tr>
              <a:tr h="511258">
                <a:tc>
                  <a:txBody>
                    <a:bodyPr/>
                    <a:lstStyle/>
                    <a:p>
                      <a:pPr algn="ctr" rtl="0" fontAlgn="base"/>
                      <a:r>
                        <a:rPr lang="en-US" sz="1400">
                          <a:effectLst/>
                          <a:latin typeface="Calibri Light"/>
                        </a:rPr>
                        <a:t>Exception/Variance Reports  </a:t>
                      </a:r>
                    </a:p>
                  </a:txBody>
                  <a:tcPr marL="85417" marR="85417" marT="42709" marB="42709"/>
                </a:tc>
                <a:tc>
                  <a:txBody>
                    <a:bodyPr/>
                    <a:lstStyle/>
                    <a:p>
                      <a:pPr algn="ctr" rtl="0" fontAlgn="base"/>
                      <a:r>
                        <a:rPr lang="en-US" sz="1400">
                          <a:effectLst/>
                          <a:latin typeface="Calibri Light"/>
                        </a:rPr>
                        <a:t>As needed  </a:t>
                      </a:r>
                    </a:p>
                  </a:txBody>
                  <a:tcPr marL="85417" marR="85417" marT="42709" marB="42709"/>
                </a:tc>
                <a:tc>
                  <a:txBody>
                    <a:bodyPr/>
                    <a:lstStyle/>
                    <a:p>
                      <a:pPr algn="ctr" rtl="0" fontAlgn="base"/>
                      <a:r>
                        <a:rPr lang="en-US" sz="1400">
                          <a:effectLst/>
                          <a:latin typeface="Calibri Light"/>
                        </a:rPr>
                        <a:t>WhatsApp </a:t>
                      </a:r>
                    </a:p>
                  </a:txBody>
                  <a:tcPr marL="85417" marR="85417" marT="42709" marB="42709"/>
                </a:tc>
                <a:tc>
                  <a:txBody>
                    <a:bodyPr/>
                    <a:lstStyle/>
                    <a:p>
                      <a:pPr algn="ctr" rtl="0" fontAlgn="base"/>
                      <a:r>
                        <a:rPr lang="en-US" sz="1400">
                          <a:effectLst/>
                          <a:latin typeface="Calibri Light"/>
                        </a:rPr>
                        <a:t>Anyone  </a:t>
                      </a:r>
                    </a:p>
                  </a:txBody>
                  <a:tcPr marL="85417" marR="85417" marT="42709" marB="42709"/>
                </a:tc>
                <a:tc>
                  <a:txBody>
                    <a:bodyPr/>
                    <a:lstStyle/>
                    <a:p>
                      <a:pPr algn="ctr" rtl="0" fontAlgn="base"/>
                      <a:r>
                        <a:rPr lang="en-US" sz="1400">
                          <a:effectLst/>
                          <a:latin typeface="Calibri Light"/>
                        </a:rPr>
                        <a:t>Impacted team Members and Client </a:t>
                      </a:r>
                    </a:p>
                  </a:txBody>
                  <a:tcPr marL="85417" marR="85417" marT="42709" marB="42709"/>
                </a:tc>
                <a:extLst>
                  <a:ext uri="{0D108BD9-81ED-4DB2-BD59-A6C34878D82A}">
                    <a16:rowId xmlns:a16="http://schemas.microsoft.com/office/drawing/2014/main" val="1975646972"/>
                  </a:ext>
                </a:extLst>
              </a:tr>
              <a:tr h="511258">
                <a:tc>
                  <a:txBody>
                    <a:bodyPr/>
                    <a:lstStyle/>
                    <a:p>
                      <a:pPr algn="ctr" rtl="0" fontAlgn="base"/>
                      <a:r>
                        <a:rPr lang="en-US" sz="1400">
                          <a:effectLst/>
                          <a:latin typeface="Calibri Light"/>
                        </a:rPr>
                        <a:t>Configuration Changes  </a:t>
                      </a:r>
                    </a:p>
                  </a:txBody>
                  <a:tcPr marL="85417" marR="85417" marT="42709" marB="42709"/>
                </a:tc>
                <a:tc>
                  <a:txBody>
                    <a:bodyPr/>
                    <a:lstStyle/>
                    <a:p>
                      <a:pPr algn="ctr" rtl="0" fontAlgn="base"/>
                      <a:r>
                        <a:rPr lang="en-US" sz="1400">
                          <a:effectLst/>
                          <a:latin typeface="Calibri Light"/>
                        </a:rPr>
                        <a:t>As changes are required/Approved </a:t>
                      </a:r>
                    </a:p>
                  </a:txBody>
                  <a:tcPr marL="85417" marR="85417" marT="42709" marB="42709"/>
                </a:tc>
                <a:tc>
                  <a:txBody>
                    <a:bodyPr/>
                    <a:lstStyle/>
                    <a:p>
                      <a:pPr algn="ctr" rtl="0" fontAlgn="base"/>
                      <a:r>
                        <a:rPr lang="en-US" sz="1400">
                          <a:effectLst/>
                          <a:latin typeface="Calibri Light"/>
                        </a:rPr>
                        <a:t>Email/ MS project  </a:t>
                      </a:r>
                    </a:p>
                  </a:txBody>
                  <a:tcPr marL="85417" marR="85417" marT="42709" marB="42709"/>
                </a:tc>
                <a:tc>
                  <a:txBody>
                    <a:bodyPr/>
                    <a:lstStyle/>
                    <a:p>
                      <a:pPr algn="ctr" rtl="0" fontAlgn="base"/>
                      <a:r>
                        <a:rPr lang="en-US" sz="1400">
                          <a:effectLst/>
                          <a:latin typeface="Calibri Light"/>
                        </a:rPr>
                        <a:t>Cloud Architect  </a:t>
                      </a:r>
                    </a:p>
                  </a:txBody>
                  <a:tcPr marL="85417" marR="85417" marT="42709" marB="42709"/>
                </a:tc>
                <a:tc>
                  <a:txBody>
                    <a:bodyPr/>
                    <a:lstStyle/>
                    <a:p>
                      <a:pPr algn="ctr" rtl="0" fontAlgn="base"/>
                      <a:r>
                        <a:rPr lang="en-US" sz="1400">
                          <a:effectLst/>
                          <a:latin typeface="Calibri Light"/>
                        </a:rPr>
                        <a:t>Impacted team Members and Client </a:t>
                      </a:r>
                    </a:p>
                  </a:txBody>
                  <a:tcPr marL="85417" marR="85417" marT="42709" marB="42709"/>
                </a:tc>
                <a:extLst>
                  <a:ext uri="{0D108BD9-81ED-4DB2-BD59-A6C34878D82A}">
                    <a16:rowId xmlns:a16="http://schemas.microsoft.com/office/drawing/2014/main" val="3426792164"/>
                  </a:ext>
                </a:extLst>
              </a:tr>
              <a:tr h="511258">
                <a:tc>
                  <a:txBody>
                    <a:bodyPr/>
                    <a:lstStyle/>
                    <a:p>
                      <a:pPr algn="ctr" rtl="0" fontAlgn="base"/>
                      <a:r>
                        <a:rPr lang="en-US" sz="1400">
                          <a:effectLst/>
                          <a:latin typeface="Calibri Light"/>
                        </a:rPr>
                        <a:t>Emergency or Critical events  </a:t>
                      </a:r>
                    </a:p>
                  </a:txBody>
                  <a:tcPr marL="85417" marR="85417" marT="42709" marB="42709"/>
                </a:tc>
                <a:tc>
                  <a:txBody>
                    <a:bodyPr/>
                    <a:lstStyle/>
                    <a:p>
                      <a:pPr algn="ctr" rtl="0" fontAlgn="base"/>
                      <a:r>
                        <a:rPr lang="en-US" sz="1400">
                          <a:effectLst/>
                          <a:latin typeface="Calibri Light"/>
                        </a:rPr>
                        <a:t>As Needed </a:t>
                      </a:r>
                    </a:p>
                  </a:txBody>
                  <a:tcPr marL="85417" marR="85417" marT="42709" marB="42709"/>
                </a:tc>
                <a:tc>
                  <a:txBody>
                    <a:bodyPr/>
                    <a:lstStyle/>
                    <a:p>
                      <a:pPr algn="ctr" rtl="0" fontAlgn="base"/>
                      <a:r>
                        <a:rPr lang="en-US" sz="1400">
                          <a:effectLst/>
                          <a:latin typeface="Calibri Light"/>
                        </a:rPr>
                        <a:t>WhatsApp </a:t>
                      </a:r>
                    </a:p>
                  </a:txBody>
                  <a:tcPr marL="85417" marR="85417" marT="42709" marB="42709"/>
                </a:tc>
                <a:tc>
                  <a:txBody>
                    <a:bodyPr/>
                    <a:lstStyle/>
                    <a:p>
                      <a:pPr algn="ctr" rtl="0" fontAlgn="base"/>
                      <a:r>
                        <a:rPr lang="en-US" sz="1400">
                          <a:effectLst/>
                          <a:latin typeface="Calibri Light"/>
                        </a:rPr>
                        <a:t>Anyone  </a:t>
                      </a:r>
                    </a:p>
                  </a:txBody>
                  <a:tcPr marL="85417" marR="85417" marT="42709" marB="42709"/>
                </a:tc>
                <a:tc>
                  <a:txBody>
                    <a:bodyPr/>
                    <a:lstStyle/>
                    <a:p>
                      <a:pPr algn="ctr" rtl="0" fontAlgn="base"/>
                      <a:r>
                        <a:rPr lang="en-US" sz="1400">
                          <a:effectLst/>
                          <a:latin typeface="Calibri Light"/>
                        </a:rPr>
                        <a:t>Full Project Team  </a:t>
                      </a:r>
                    </a:p>
                  </a:txBody>
                  <a:tcPr marL="85417" marR="85417" marT="42709" marB="42709"/>
                </a:tc>
                <a:extLst>
                  <a:ext uri="{0D108BD9-81ED-4DB2-BD59-A6C34878D82A}">
                    <a16:rowId xmlns:a16="http://schemas.microsoft.com/office/drawing/2014/main" val="3171890537"/>
                  </a:ext>
                </a:extLst>
              </a:tr>
              <a:tr h="511258">
                <a:tc>
                  <a:txBody>
                    <a:bodyPr/>
                    <a:lstStyle/>
                    <a:p>
                      <a:pPr algn="ctr" rtl="0" fontAlgn="base"/>
                      <a:r>
                        <a:rPr lang="en-US" sz="1400">
                          <a:effectLst/>
                          <a:latin typeface="Calibri Light"/>
                        </a:rPr>
                        <a:t>Task Breakdown and Completion  </a:t>
                      </a:r>
                    </a:p>
                  </a:txBody>
                  <a:tcPr marL="85417" marR="85417" marT="42709" marB="42709"/>
                </a:tc>
                <a:tc>
                  <a:txBody>
                    <a:bodyPr/>
                    <a:lstStyle/>
                    <a:p>
                      <a:pPr algn="ctr" rtl="0" fontAlgn="base"/>
                      <a:r>
                        <a:rPr lang="en-US" sz="1400">
                          <a:effectLst/>
                          <a:latin typeface="Calibri Light"/>
                        </a:rPr>
                        <a:t>Monthly or at the milestone  </a:t>
                      </a:r>
                    </a:p>
                  </a:txBody>
                  <a:tcPr marL="85417" marR="85417" marT="42709" marB="42709"/>
                </a:tc>
                <a:tc>
                  <a:txBody>
                    <a:bodyPr/>
                    <a:lstStyle/>
                    <a:p>
                      <a:pPr algn="ctr" rtl="0" fontAlgn="base"/>
                      <a:r>
                        <a:rPr lang="en-US" sz="1400">
                          <a:effectLst/>
                          <a:latin typeface="Calibri Light"/>
                        </a:rPr>
                        <a:t>Trello </a:t>
                      </a:r>
                    </a:p>
                  </a:txBody>
                  <a:tcPr marL="85417" marR="85417" marT="42709" marB="42709"/>
                </a:tc>
                <a:tc>
                  <a:txBody>
                    <a:bodyPr/>
                    <a:lstStyle/>
                    <a:p>
                      <a:pPr algn="ctr" rtl="0" fontAlgn="base"/>
                      <a:r>
                        <a:rPr lang="en-US" sz="1400">
                          <a:effectLst/>
                          <a:latin typeface="Calibri Light"/>
                        </a:rPr>
                        <a:t>Project Manager  </a:t>
                      </a:r>
                    </a:p>
                  </a:txBody>
                  <a:tcPr marL="85417" marR="85417" marT="42709" marB="42709"/>
                </a:tc>
                <a:tc>
                  <a:txBody>
                    <a:bodyPr/>
                    <a:lstStyle/>
                    <a:p>
                      <a:pPr algn="ctr" rtl="0" fontAlgn="base"/>
                      <a:r>
                        <a:rPr lang="en-US" sz="1400">
                          <a:effectLst/>
                          <a:latin typeface="Calibri Light"/>
                        </a:rPr>
                        <a:t>Full Project Team  </a:t>
                      </a:r>
                    </a:p>
                  </a:txBody>
                  <a:tcPr marL="85417" marR="85417" marT="42709" marB="42709"/>
                </a:tc>
                <a:extLst>
                  <a:ext uri="{0D108BD9-81ED-4DB2-BD59-A6C34878D82A}">
                    <a16:rowId xmlns:a16="http://schemas.microsoft.com/office/drawing/2014/main" val="2499300865"/>
                  </a:ext>
                </a:extLst>
              </a:tr>
              <a:tr h="511258">
                <a:tc>
                  <a:txBody>
                    <a:bodyPr/>
                    <a:lstStyle/>
                    <a:p>
                      <a:pPr algn="ctr" rtl="0" fontAlgn="base"/>
                      <a:r>
                        <a:rPr lang="en-US" sz="1400">
                          <a:effectLst/>
                          <a:latin typeface="Calibri Light"/>
                        </a:rPr>
                        <a:t>Brainstorming and Resolving Issue  </a:t>
                      </a:r>
                    </a:p>
                  </a:txBody>
                  <a:tcPr marL="85417" marR="85417" marT="42709" marB="42709"/>
                </a:tc>
                <a:tc>
                  <a:txBody>
                    <a:bodyPr/>
                    <a:lstStyle/>
                    <a:p>
                      <a:pPr algn="ctr" rtl="0" fontAlgn="base"/>
                      <a:r>
                        <a:rPr lang="en-US" sz="1400">
                          <a:effectLst/>
                          <a:latin typeface="Calibri Light"/>
                        </a:rPr>
                        <a:t>Weekly  </a:t>
                      </a:r>
                    </a:p>
                  </a:txBody>
                  <a:tcPr marL="85417" marR="85417" marT="42709" marB="42709"/>
                </a:tc>
                <a:tc>
                  <a:txBody>
                    <a:bodyPr/>
                    <a:lstStyle/>
                    <a:p>
                      <a:pPr algn="ctr" rtl="0" fontAlgn="base"/>
                      <a:r>
                        <a:rPr lang="en-US" sz="1400">
                          <a:effectLst/>
                          <a:latin typeface="Calibri Light"/>
                        </a:rPr>
                        <a:t>Zoom </a:t>
                      </a:r>
                    </a:p>
                  </a:txBody>
                  <a:tcPr marL="85417" marR="85417" marT="42709" marB="42709"/>
                </a:tc>
                <a:tc>
                  <a:txBody>
                    <a:bodyPr/>
                    <a:lstStyle/>
                    <a:p>
                      <a:pPr algn="ctr" rtl="0" fontAlgn="base"/>
                      <a:r>
                        <a:rPr lang="en-US" sz="1400">
                          <a:effectLst/>
                          <a:latin typeface="Calibri Light"/>
                        </a:rPr>
                        <a:t>Data analyst and Networking Analyst </a:t>
                      </a:r>
                    </a:p>
                  </a:txBody>
                  <a:tcPr marL="85417" marR="85417" marT="42709" marB="42709"/>
                </a:tc>
                <a:tc>
                  <a:txBody>
                    <a:bodyPr/>
                    <a:lstStyle/>
                    <a:p>
                      <a:pPr algn="ctr" rtl="0" fontAlgn="base"/>
                      <a:r>
                        <a:rPr lang="en-US" sz="1400">
                          <a:effectLst/>
                          <a:latin typeface="Calibri Light"/>
                        </a:rPr>
                        <a:t>Full Project Team  </a:t>
                      </a:r>
                    </a:p>
                  </a:txBody>
                  <a:tcPr marL="85417" marR="85417" marT="42709" marB="42709"/>
                </a:tc>
                <a:extLst>
                  <a:ext uri="{0D108BD9-81ED-4DB2-BD59-A6C34878D82A}">
                    <a16:rowId xmlns:a16="http://schemas.microsoft.com/office/drawing/2014/main" val="281704068"/>
                  </a:ext>
                </a:extLst>
              </a:tr>
              <a:tr h="328666">
                <a:tc>
                  <a:txBody>
                    <a:bodyPr/>
                    <a:lstStyle/>
                    <a:p>
                      <a:pPr algn="ctr" rtl="0" fontAlgn="base"/>
                      <a:r>
                        <a:rPr lang="en-US" sz="1400">
                          <a:effectLst/>
                          <a:latin typeface="Calibri Light"/>
                        </a:rPr>
                        <a:t>Project Reviews  </a:t>
                      </a:r>
                    </a:p>
                  </a:txBody>
                  <a:tcPr marL="85417" marR="85417" marT="42709" marB="42709"/>
                </a:tc>
                <a:tc>
                  <a:txBody>
                    <a:bodyPr/>
                    <a:lstStyle/>
                    <a:p>
                      <a:pPr algn="ctr" rtl="0" fontAlgn="base"/>
                      <a:r>
                        <a:rPr lang="en-US" sz="1400">
                          <a:effectLst/>
                          <a:latin typeface="Calibri Light"/>
                        </a:rPr>
                        <a:t>At milestone  </a:t>
                      </a:r>
                    </a:p>
                  </a:txBody>
                  <a:tcPr marL="85417" marR="85417" marT="42709" marB="42709"/>
                </a:tc>
                <a:tc>
                  <a:txBody>
                    <a:bodyPr/>
                    <a:lstStyle/>
                    <a:p>
                      <a:pPr algn="ctr" rtl="0" fontAlgn="base"/>
                      <a:r>
                        <a:rPr lang="en-US" sz="1400">
                          <a:effectLst/>
                          <a:latin typeface="Calibri Light"/>
                        </a:rPr>
                        <a:t>Zoom and Google Docs </a:t>
                      </a:r>
                    </a:p>
                  </a:txBody>
                  <a:tcPr marL="85417" marR="85417" marT="42709" marB="42709"/>
                </a:tc>
                <a:tc>
                  <a:txBody>
                    <a:bodyPr/>
                    <a:lstStyle/>
                    <a:p>
                      <a:pPr algn="ctr" rtl="0" fontAlgn="base"/>
                      <a:r>
                        <a:rPr lang="en-US" sz="1400">
                          <a:effectLst/>
                          <a:latin typeface="Calibri Light"/>
                        </a:rPr>
                        <a:t>Project Manager  </a:t>
                      </a:r>
                    </a:p>
                  </a:txBody>
                  <a:tcPr marL="85417" marR="85417" marT="42709" marB="42709"/>
                </a:tc>
                <a:tc>
                  <a:txBody>
                    <a:bodyPr/>
                    <a:lstStyle/>
                    <a:p>
                      <a:pPr algn="ctr" rtl="0" fontAlgn="base"/>
                      <a:r>
                        <a:rPr lang="en-US" sz="1400">
                          <a:effectLst/>
                          <a:latin typeface="Calibri Light"/>
                        </a:rPr>
                        <a:t>Full Project Team  </a:t>
                      </a:r>
                    </a:p>
                  </a:txBody>
                  <a:tcPr marL="85417" marR="85417" marT="42709" marB="42709"/>
                </a:tc>
                <a:extLst>
                  <a:ext uri="{0D108BD9-81ED-4DB2-BD59-A6C34878D82A}">
                    <a16:rowId xmlns:a16="http://schemas.microsoft.com/office/drawing/2014/main" val="161851295"/>
                  </a:ext>
                </a:extLst>
              </a:tr>
            </a:tbl>
          </a:graphicData>
        </a:graphic>
      </p:graphicFrame>
    </p:spTree>
    <p:extLst>
      <p:ext uri="{BB962C8B-B14F-4D97-AF65-F5344CB8AC3E}">
        <p14:creationId xmlns:p14="http://schemas.microsoft.com/office/powerpoint/2010/main" val="311214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id="{49AE1604-BB93-4F6D-94D6-F2A6021FC5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47">
            <a:extLst>
              <a:ext uri="{FF2B5EF4-FFF2-40B4-BE49-F238E27FC236}">
                <a16:creationId xmlns:a16="http://schemas.microsoft.com/office/drawing/2014/main" id="{A9270323-9616-4384-857D-E86B78272EF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2340441" y="2666183"/>
            <a:ext cx="5860051" cy="527712"/>
            <a:chOff x="6081624" y="1998368"/>
            <a:chExt cx="5613457" cy="782175"/>
          </a:xfrm>
          <a:solidFill>
            <a:schemeClr val="accent4"/>
          </a:solidFill>
        </p:grpSpPr>
        <p:sp>
          <p:nvSpPr>
            <p:cNvPr id="49" name="Rectangle 48">
              <a:extLst>
                <a:ext uri="{FF2B5EF4-FFF2-40B4-BE49-F238E27FC236}">
                  <a16:creationId xmlns:a16="http://schemas.microsoft.com/office/drawing/2014/main" id="{8A3838D5-9565-4601-BAC3-D1B5BDB803E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3349A4B8-3246-4579-922E-FE1155C7F08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flipV="1">
              <a:off x="6081624" y="1998844"/>
              <a:ext cx="5372968" cy="7816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2" name="Rectangle 51">
            <a:extLst>
              <a:ext uri="{FF2B5EF4-FFF2-40B4-BE49-F238E27FC236}">
                <a16:creationId xmlns:a16="http://schemas.microsoft.com/office/drawing/2014/main" id="{CBC4F608-B4B8-48C3-9572-C0F061B1CD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9528" y="517897"/>
            <a:ext cx="11111729" cy="585796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A309B92-0EB2-48E4-BE38-3C26772FCFC2}"/>
              </a:ext>
            </a:extLst>
          </p:cNvPr>
          <p:cNvSpPr>
            <a:spLocks noGrp="1"/>
          </p:cNvSpPr>
          <p:nvPr>
            <p:ph type="title"/>
          </p:nvPr>
        </p:nvSpPr>
        <p:spPr>
          <a:xfrm>
            <a:off x="6593917" y="847827"/>
            <a:ext cx="4709345" cy="1169585"/>
          </a:xfrm>
        </p:spPr>
        <p:txBody>
          <a:bodyPr anchor="b">
            <a:normAutofit/>
          </a:bodyPr>
          <a:lstStyle/>
          <a:p>
            <a:r>
              <a:rPr lang="en-US" sz="4000" b="1"/>
              <a:t>PROJECT TRACKING </a:t>
            </a:r>
            <a:endParaRPr lang="en-US" sz="4000" b="1">
              <a:cs typeface="Calibri Light"/>
            </a:endParaRPr>
          </a:p>
        </p:txBody>
      </p:sp>
      <p:pic>
        <p:nvPicPr>
          <p:cNvPr id="19" name="Picture 4">
            <a:extLst>
              <a:ext uri="{FF2B5EF4-FFF2-40B4-BE49-F238E27FC236}">
                <a16:creationId xmlns:a16="http://schemas.microsoft.com/office/drawing/2014/main" id="{5D828D9E-53DD-4E4B-86CF-8342CB41AE1A}"/>
              </a:ext>
            </a:extLst>
          </p:cNvPr>
          <p:cNvPicPr>
            <a:picLocks noChangeAspect="1"/>
          </p:cNvPicPr>
          <p:nvPr/>
        </p:nvPicPr>
        <p:blipFill rotWithShape="1">
          <a:blip r:embed="rId2"/>
          <a:srcRect l="66" r="37738" b="2"/>
          <a:stretch/>
        </p:blipFill>
        <p:spPr>
          <a:xfrm>
            <a:off x="914401" y="847827"/>
            <a:ext cx="4929098" cy="5289986"/>
          </a:xfrm>
          <a:prstGeom prst="rect">
            <a:avLst/>
          </a:prstGeom>
        </p:spPr>
      </p:pic>
      <p:sp>
        <p:nvSpPr>
          <p:cNvPr id="54" name="Rectangle 53">
            <a:extLst>
              <a:ext uri="{FF2B5EF4-FFF2-40B4-BE49-F238E27FC236}">
                <a16:creationId xmlns:a16="http://schemas.microsoft.com/office/drawing/2014/main" id="{1382A32C-5B0C-4B1C-A074-76C6DBCC9F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34377" y="2188548"/>
            <a:ext cx="438912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Content Placeholder 2">
            <a:extLst>
              <a:ext uri="{FF2B5EF4-FFF2-40B4-BE49-F238E27FC236}">
                <a16:creationId xmlns:a16="http://schemas.microsoft.com/office/drawing/2014/main" id="{C2BE5BF0-8DED-4ACC-B337-8A27C0661055}"/>
              </a:ext>
            </a:extLst>
          </p:cNvPr>
          <p:cNvSpPr>
            <a:spLocks noGrp="1"/>
          </p:cNvSpPr>
          <p:nvPr>
            <p:ph idx="1"/>
          </p:nvPr>
        </p:nvSpPr>
        <p:spPr>
          <a:xfrm>
            <a:off x="6486371" y="2653248"/>
            <a:ext cx="5130258" cy="3487350"/>
          </a:xfrm>
        </p:spPr>
        <p:txBody>
          <a:bodyPr vert="horz" lIns="91440" tIns="45720" rIns="91440" bIns="45720" rtlCol="0" anchor="ctr">
            <a:noAutofit/>
          </a:bodyPr>
          <a:lstStyle/>
          <a:p>
            <a:pPr algn="just"/>
            <a:r>
              <a:rPr lang="en-US" sz="1800">
                <a:latin typeface="Calibri Light"/>
                <a:cs typeface="Times New Roman"/>
              </a:rPr>
              <a:t>Application used- MS project </a:t>
            </a:r>
            <a:endParaRPr lang="en-US" sz="1800">
              <a:latin typeface="Calibri Light"/>
              <a:cs typeface="Calibri"/>
            </a:endParaRPr>
          </a:p>
          <a:p>
            <a:pPr algn="just"/>
            <a:r>
              <a:rPr lang="en-US" sz="1800">
                <a:latin typeface="Calibri Light"/>
                <a:cs typeface="Times New Roman"/>
              </a:rPr>
              <a:t>Method to evaluate project status is </a:t>
            </a:r>
            <a:r>
              <a:rPr lang="en-US" sz="1800" b="0" i="0">
                <a:effectLst/>
                <a:latin typeface="Calibri Light"/>
                <a:cs typeface="Times New Roman"/>
              </a:rPr>
              <a:t>Earned Value Management (EVM) and Gantt Chart</a:t>
            </a:r>
            <a:r>
              <a:rPr lang="en-US" sz="1800">
                <a:latin typeface="Calibri Light"/>
                <a:cs typeface="Times New Roman"/>
              </a:rPr>
              <a:t> </a:t>
            </a:r>
            <a:endParaRPr lang="en-US" sz="1800" b="0" i="0">
              <a:effectLst/>
              <a:latin typeface="Calibri Light"/>
              <a:cs typeface="Times New Roman"/>
            </a:endParaRPr>
          </a:p>
          <a:p>
            <a:pPr algn="just"/>
            <a:r>
              <a:rPr lang="en-US" sz="1800">
                <a:latin typeface="Calibri Light"/>
                <a:cs typeface="Times New Roman"/>
              </a:rPr>
              <a:t>Tracking intervals are weekly and extracted data every Monday </a:t>
            </a:r>
            <a:endParaRPr lang="en-US" sz="1800" b="0" i="0">
              <a:effectLst/>
              <a:latin typeface="Calibri Light"/>
              <a:cs typeface="Times New Roman"/>
            </a:endParaRPr>
          </a:p>
          <a:p>
            <a:pPr algn="just"/>
            <a:r>
              <a:rPr lang="en-US" sz="1800">
                <a:latin typeface="Calibri Light"/>
                <a:cs typeface="Times New Roman"/>
              </a:rPr>
              <a:t>The baseline cost of the project with 3% of project completion as of 11/27/2020 is $105,080.</a:t>
            </a:r>
          </a:p>
          <a:p>
            <a:pPr algn="just"/>
            <a:r>
              <a:rPr lang="en-US" sz="1800">
                <a:latin typeface="Calibri Light"/>
                <a:ea typeface="+mn-lt"/>
                <a:cs typeface="+mn-lt"/>
              </a:rPr>
              <a:t>The values of estimate at completion (EAC) and budget at completion (BAC) are ($1,266,680) the same, the variance at completion (difference of estimate at completion and budget at completion) is 0 as of 11/27/2020. </a:t>
            </a:r>
          </a:p>
          <a:p>
            <a:pPr algn="just"/>
            <a:endParaRPr lang="en-US" sz="2000">
              <a:latin typeface="Calibri Light"/>
              <a:cs typeface="Times New Roman"/>
            </a:endParaRPr>
          </a:p>
        </p:txBody>
      </p:sp>
    </p:spTree>
    <p:extLst>
      <p:ext uri="{BB962C8B-B14F-4D97-AF65-F5344CB8AC3E}">
        <p14:creationId xmlns:p14="http://schemas.microsoft.com/office/powerpoint/2010/main" val="34171586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C8A5B-A025-4B42-B63D-FF09983144BB}"/>
              </a:ext>
            </a:extLst>
          </p:cNvPr>
          <p:cNvSpPr>
            <a:spLocks noGrp="1"/>
          </p:cNvSpPr>
          <p:nvPr>
            <p:ph type="ctrTitle"/>
          </p:nvPr>
        </p:nvSpPr>
        <p:spPr>
          <a:xfrm>
            <a:off x="4473818" y="383462"/>
            <a:ext cx="7876974" cy="1114096"/>
          </a:xfrm>
        </p:spPr>
        <p:txBody>
          <a:bodyPr vert="horz" lIns="91440" tIns="45720" rIns="91440" bIns="45720" rtlCol="0" anchor="b">
            <a:normAutofit/>
          </a:bodyPr>
          <a:lstStyle/>
          <a:p>
            <a:r>
              <a:rPr lang="en-US" sz="4000" b="1">
                <a:latin typeface="Calibri Light"/>
                <a:cs typeface="Times New Roman"/>
              </a:rPr>
              <a:t>EVALUATION AND LESSONS LEARNED</a:t>
            </a:r>
            <a:endParaRPr lang="en-US" sz="4000" b="1">
              <a:latin typeface="Calibri Light"/>
              <a:cs typeface="Times New Roman" panose="02020603050405020304" pitchFamily="18" charset="0"/>
            </a:endParaRPr>
          </a:p>
        </p:txBody>
      </p:sp>
      <p:sp>
        <p:nvSpPr>
          <p:cNvPr id="3" name="Subtitle 2">
            <a:extLst>
              <a:ext uri="{FF2B5EF4-FFF2-40B4-BE49-F238E27FC236}">
                <a16:creationId xmlns:a16="http://schemas.microsoft.com/office/drawing/2014/main" id="{E91E8E90-7E10-4902-80B4-2B9466106119}"/>
              </a:ext>
            </a:extLst>
          </p:cNvPr>
          <p:cNvSpPr>
            <a:spLocks noGrp="1"/>
          </p:cNvSpPr>
          <p:nvPr>
            <p:ph type="subTitle" idx="1"/>
          </p:nvPr>
        </p:nvSpPr>
        <p:spPr>
          <a:xfrm>
            <a:off x="4965431" y="2438400"/>
            <a:ext cx="6586489" cy="3785419"/>
          </a:xfrm>
        </p:spPr>
        <p:txBody>
          <a:bodyPr vert="horz" lIns="91440" tIns="45720" rIns="91440" bIns="45720" rtlCol="0" anchor="t">
            <a:normAutofit/>
          </a:bodyPr>
          <a:lstStyle/>
          <a:p>
            <a:pPr marL="57150" algn="l"/>
            <a:endParaRPr lang="en-US" sz="3200">
              <a:latin typeface="Times New Roman" panose="02020603050405020304" pitchFamily="18" charset="0"/>
              <a:cs typeface="Times New Roman" panose="02020603050405020304" pitchFamily="18" charset="0"/>
            </a:endParaRPr>
          </a:p>
          <a:p>
            <a:pPr marL="285750" indent="-228600" algn="l">
              <a:buFont typeface="Arial" panose="020B0604020202020204" pitchFamily="34" charset="0"/>
              <a:buChar char="•"/>
            </a:pPr>
            <a:r>
              <a:rPr lang="en-US" sz="3200">
                <a:latin typeface="Calibri Light"/>
                <a:cs typeface="Times New Roman"/>
              </a:rPr>
              <a:t>Process    </a:t>
            </a:r>
            <a:r>
              <a:rPr lang="en-US" sz="3200">
                <a:latin typeface="Calibri Light"/>
                <a:ea typeface="+mn-lt"/>
                <a:cs typeface="+mn-lt"/>
              </a:rPr>
              <a:t>  </a:t>
            </a:r>
          </a:p>
          <a:p>
            <a:pPr marL="285750" indent="-228600" algn="l">
              <a:buFont typeface="Arial" panose="020B0604020202020204" pitchFamily="34" charset="0"/>
              <a:buChar char="•"/>
            </a:pPr>
            <a:r>
              <a:rPr lang="en-US" sz="3200">
                <a:latin typeface="Calibri Light"/>
                <a:cs typeface="Times New Roman"/>
              </a:rPr>
              <a:t>Budget</a:t>
            </a:r>
          </a:p>
          <a:p>
            <a:pPr marL="285750" indent="-228600" algn="l">
              <a:buFont typeface="Arial" panose="020B0604020202020204" pitchFamily="34" charset="0"/>
              <a:buChar char="•"/>
            </a:pPr>
            <a:r>
              <a:rPr lang="en-US" sz="3200">
                <a:latin typeface="Calibri Light"/>
                <a:cs typeface="Times New Roman"/>
              </a:rPr>
              <a:t>Security and Data Availability </a:t>
            </a:r>
          </a:p>
          <a:p>
            <a:pPr marL="285750" indent="-228600" algn="l">
              <a:buFont typeface="Arial" panose="020B0604020202020204" pitchFamily="34" charset="0"/>
              <a:buChar char="•"/>
            </a:pPr>
            <a:r>
              <a:rPr lang="en-US" sz="3200">
                <a:latin typeface="Calibri Light"/>
                <a:cs typeface="Times New Roman"/>
              </a:rPr>
              <a:t>Scope creep Budget Over run</a:t>
            </a:r>
          </a:p>
          <a:p>
            <a:pPr marL="285750" indent="-228600" algn="l">
              <a:buFont typeface="Arial" panose="020B0604020202020204" pitchFamily="34" charset="0"/>
              <a:buChar char="•"/>
            </a:pPr>
            <a:r>
              <a:rPr lang="en-US" sz="3200">
                <a:latin typeface="Calibri Light"/>
                <a:cs typeface="Times New Roman"/>
              </a:rPr>
              <a:t>Documentation</a:t>
            </a:r>
          </a:p>
          <a:p>
            <a:pPr indent="-228600" algn="l">
              <a:buFont typeface="Arial" panose="020B0604020202020204" pitchFamily="34" charset="0"/>
              <a:buChar char="•"/>
            </a:pPr>
            <a:endParaRPr lang="en-US">
              <a:cs typeface="Calibri"/>
            </a:endParaRPr>
          </a:p>
        </p:txBody>
      </p:sp>
      <p:pic>
        <p:nvPicPr>
          <p:cNvPr id="4" name="Content Placeholder 9" descr="A close up of a keyboard&#10;&#10;Description automatically generated">
            <a:extLst>
              <a:ext uri="{FF2B5EF4-FFF2-40B4-BE49-F238E27FC236}">
                <a16:creationId xmlns:a16="http://schemas.microsoft.com/office/drawing/2014/main" id="{5E316F1B-9620-4B2C-AC4C-7ABF08695D2E}"/>
              </a:ext>
            </a:extLst>
          </p:cNvPr>
          <p:cNvPicPr>
            <a:picLocks noGrp="1" noChangeAspect="1"/>
          </p:cNvPicPr>
          <p:nvPr/>
        </p:nvPicPr>
        <p:blipFill rotWithShape="1">
          <a:blip r:embed="rId2">
            <a:extLst>
              <a:ext uri="{28A0092B-C50C-407E-A947-70E740481C1C}">
                <a14:useLocalDpi xmlns:a14="http://schemas.microsoft.com/office/drawing/2010/main" val="0"/>
              </a:ext>
            </a:extLst>
          </a:blip>
          <a:srcRect l="24177" r="30366" b="-2"/>
          <a:stretch/>
        </p:blipFill>
        <p:spPr>
          <a:xfrm>
            <a:off x="20" y="10"/>
            <a:ext cx="4635571" cy="6857990"/>
          </a:xfrm>
          <a:prstGeom prst="rect">
            <a:avLst/>
          </a:prstGeom>
          <a:solidFill>
            <a:schemeClr val="bg1">
              <a:alpha val="19000"/>
            </a:schemeClr>
          </a:solidFill>
          <a:effectLst/>
        </p:spPr>
      </p:pic>
      <p:cxnSp>
        <p:nvCxnSpPr>
          <p:cNvPr id="14" name="Straight Connector 13">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CD7F00"/>
            </a:solidFill>
          </a:ln>
        </p:spPr>
        <p:style>
          <a:lnRef idx="1">
            <a:schemeClr val="accent1"/>
          </a:lnRef>
          <a:fillRef idx="0">
            <a:schemeClr val="accent1"/>
          </a:fillRef>
          <a:effectRef idx="0">
            <a:schemeClr val="accent1"/>
          </a:effectRef>
          <a:fontRef idx="minor">
            <a:schemeClr val="tx1"/>
          </a:fontRef>
        </p:style>
      </p:cxnSp>
      <p:pic>
        <p:nvPicPr>
          <p:cNvPr id="5" name="Graphic 5" descr="Checkbox Checked">
            <a:extLst>
              <a:ext uri="{FF2B5EF4-FFF2-40B4-BE49-F238E27FC236}">
                <a16:creationId xmlns:a16="http://schemas.microsoft.com/office/drawing/2014/main" id="{C43F0D4A-1895-46FF-8CB0-6D37D6033A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50754" y="2983062"/>
            <a:ext cx="626077" cy="626077"/>
          </a:xfrm>
          <a:prstGeom prst="rect">
            <a:avLst/>
          </a:prstGeom>
        </p:spPr>
      </p:pic>
      <p:pic>
        <p:nvPicPr>
          <p:cNvPr id="6" name="Graphic 6" descr="Checkbox Checked">
            <a:extLst>
              <a:ext uri="{FF2B5EF4-FFF2-40B4-BE49-F238E27FC236}">
                <a16:creationId xmlns:a16="http://schemas.microsoft.com/office/drawing/2014/main" id="{59063582-404B-4FB8-8945-AE8A503CEB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50754" y="3502433"/>
            <a:ext cx="636374" cy="667265"/>
          </a:xfrm>
          <a:prstGeom prst="rect">
            <a:avLst/>
          </a:prstGeom>
        </p:spPr>
      </p:pic>
      <p:pic>
        <p:nvPicPr>
          <p:cNvPr id="7" name="Graphic 7" descr="Checkbox Checked">
            <a:extLst>
              <a:ext uri="{FF2B5EF4-FFF2-40B4-BE49-F238E27FC236}">
                <a16:creationId xmlns:a16="http://schemas.microsoft.com/office/drawing/2014/main" id="{D538DE17-D92D-44D5-92A6-034DAE85FC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94711" y="4708182"/>
            <a:ext cx="636373" cy="626076"/>
          </a:xfrm>
          <a:prstGeom prst="rect">
            <a:avLst/>
          </a:prstGeom>
        </p:spPr>
      </p:pic>
      <p:pic>
        <p:nvPicPr>
          <p:cNvPr id="9" name="Graphic 5" descr="Checkbox Checked">
            <a:extLst>
              <a:ext uri="{FF2B5EF4-FFF2-40B4-BE49-F238E27FC236}">
                <a16:creationId xmlns:a16="http://schemas.microsoft.com/office/drawing/2014/main" id="{07F346BC-E585-41C4-B270-8DD90B5C5C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49823" y="5246535"/>
            <a:ext cx="626077" cy="626077"/>
          </a:xfrm>
          <a:prstGeom prst="rect">
            <a:avLst/>
          </a:prstGeom>
        </p:spPr>
      </p:pic>
      <p:pic>
        <p:nvPicPr>
          <p:cNvPr id="10" name="Graphic 10" descr="Badge Cross">
            <a:extLst>
              <a:ext uri="{FF2B5EF4-FFF2-40B4-BE49-F238E27FC236}">
                <a16:creationId xmlns:a16="http://schemas.microsoft.com/office/drawing/2014/main" id="{D236E396-DF05-4AE4-B5CA-2D56AB290DB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94144" y="4174330"/>
            <a:ext cx="557214" cy="569119"/>
          </a:xfrm>
          <a:prstGeom prst="rect">
            <a:avLst/>
          </a:prstGeom>
        </p:spPr>
      </p:pic>
    </p:spTree>
    <p:extLst>
      <p:ext uri="{BB962C8B-B14F-4D97-AF65-F5344CB8AC3E}">
        <p14:creationId xmlns:p14="http://schemas.microsoft.com/office/powerpoint/2010/main" val="4843362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8575C10-8187-4AC4-AD72-C754EAFD28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65429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B20FA96-0B0C-40D1-839A-9A7B61B5621E}"/>
              </a:ext>
            </a:extLst>
          </p:cNvPr>
          <p:cNvSpPr>
            <a:spLocks noGrp="1"/>
          </p:cNvSpPr>
          <p:nvPr>
            <p:ph type="title"/>
          </p:nvPr>
        </p:nvSpPr>
        <p:spPr>
          <a:xfrm>
            <a:off x="245807" y="565823"/>
            <a:ext cx="4084108" cy="4946347"/>
          </a:xfrm>
        </p:spPr>
        <p:txBody>
          <a:bodyPr>
            <a:normAutofit/>
          </a:bodyPr>
          <a:lstStyle/>
          <a:p>
            <a:pPr algn="ctr"/>
            <a:r>
              <a:rPr lang="en-US" sz="4000" b="1">
                <a:solidFill>
                  <a:schemeClr val="bg1"/>
                </a:solidFill>
              </a:rPr>
              <a:t>SECURITY AND DATA AVAILABILITY</a:t>
            </a:r>
            <a:endParaRPr lang="en-US" sz="4000" b="1">
              <a:solidFill>
                <a:schemeClr val="bg1"/>
              </a:solidFill>
              <a:cs typeface="Calibri Light"/>
            </a:endParaRPr>
          </a:p>
        </p:txBody>
      </p:sp>
      <p:cxnSp>
        <p:nvCxnSpPr>
          <p:cNvPr id="11" name="Straight Connector 10">
            <a:extLst>
              <a:ext uri="{FF2B5EF4-FFF2-40B4-BE49-F238E27FC236}">
                <a16:creationId xmlns:a16="http://schemas.microsoft.com/office/drawing/2014/main" id="{74E776C9-ED67-41B7-B3A3-4DF76EF3ACE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99730"/>
            <a:ext cx="429768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1554FFEC-BC60-4304-BDBE-6B10771DC420}"/>
              </a:ext>
            </a:extLst>
          </p:cNvPr>
          <p:cNvGraphicFramePr>
            <a:graphicFrameLocks noGrp="1"/>
          </p:cNvGraphicFramePr>
          <p:nvPr>
            <p:ph idx="1"/>
            <p:extLst>
              <p:ext uri="{D42A27DB-BD31-4B8C-83A1-F6EECF244321}">
                <p14:modId xmlns:p14="http://schemas.microsoft.com/office/powerpoint/2010/main" val="2336672824"/>
              </p:ext>
            </p:extLst>
          </p:nvPr>
        </p:nvGraphicFramePr>
        <p:xfrm>
          <a:off x="5181600" y="568325"/>
          <a:ext cx="6248400" cy="56562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509545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2158B3D4-06EC-482C-BEC1-173AF4E8C41C}"/>
              </a:ext>
            </a:extLst>
          </p:cNvPr>
          <p:cNvSpPr txBox="1">
            <a:spLocks/>
          </p:cNvSpPr>
          <p:nvPr/>
        </p:nvSpPr>
        <p:spPr>
          <a:xfrm>
            <a:off x="556532" y="643467"/>
            <a:ext cx="11210925" cy="7448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4000" b="1">
                <a:solidFill>
                  <a:schemeClr val="bg1"/>
                </a:solidFill>
              </a:rPr>
              <a:t>MILESTONES</a:t>
            </a:r>
            <a:endParaRPr lang="en-US" sz="4000" b="1" kern="1200">
              <a:solidFill>
                <a:schemeClr val="bg1"/>
              </a:solidFill>
              <a:latin typeface="+mj-lt"/>
              <a:cs typeface="Calibri Light"/>
            </a:endParaRPr>
          </a:p>
        </p:txBody>
      </p:sp>
      <p:graphicFrame>
        <p:nvGraphicFramePr>
          <p:cNvPr id="5" name="Content Placeholder 3">
            <a:extLst>
              <a:ext uri="{FF2B5EF4-FFF2-40B4-BE49-F238E27FC236}">
                <a16:creationId xmlns:a16="http://schemas.microsoft.com/office/drawing/2014/main" id="{98FD0B16-DAFD-4BC2-878B-24F04F842071}"/>
              </a:ext>
            </a:extLst>
          </p:cNvPr>
          <p:cNvGraphicFramePr>
            <a:graphicFrameLocks/>
          </p:cNvGraphicFramePr>
          <p:nvPr>
            <p:extLst>
              <p:ext uri="{D42A27DB-BD31-4B8C-83A1-F6EECF244321}">
                <p14:modId xmlns:p14="http://schemas.microsoft.com/office/powerpoint/2010/main" val="2882667245"/>
              </p:ext>
            </p:extLst>
          </p:nvPr>
        </p:nvGraphicFramePr>
        <p:xfrm>
          <a:off x="643467" y="1810826"/>
          <a:ext cx="10905067" cy="4123002"/>
        </p:xfrm>
        <a:graphic>
          <a:graphicData uri="http://schemas.openxmlformats.org/drawingml/2006/table">
            <a:tbl>
              <a:tblPr firstRow="1" bandRow="1">
                <a:tableStyleId>{72833802-FEF1-4C79-8D5D-14CF1EAF98D9}</a:tableStyleId>
              </a:tblPr>
              <a:tblGrid>
                <a:gridCol w="3720659">
                  <a:extLst>
                    <a:ext uri="{9D8B030D-6E8A-4147-A177-3AD203B41FA5}">
                      <a16:colId xmlns:a16="http://schemas.microsoft.com/office/drawing/2014/main" val="20000"/>
                    </a:ext>
                  </a:extLst>
                </a:gridCol>
                <a:gridCol w="1700896">
                  <a:extLst>
                    <a:ext uri="{9D8B030D-6E8A-4147-A177-3AD203B41FA5}">
                      <a16:colId xmlns:a16="http://schemas.microsoft.com/office/drawing/2014/main" val="20001"/>
                    </a:ext>
                  </a:extLst>
                </a:gridCol>
                <a:gridCol w="2805482">
                  <a:extLst>
                    <a:ext uri="{9D8B030D-6E8A-4147-A177-3AD203B41FA5}">
                      <a16:colId xmlns:a16="http://schemas.microsoft.com/office/drawing/2014/main" val="20002"/>
                    </a:ext>
                  </a:extLst>
                </a:gridCol>
                <a:gridCol w="2678030">
                  <a:extLst>
                    <a:ext uri="{9D8B030D-6E8A-4147-A177-3AD203B41FA5}">
                      <a16:colId xmlns:a16="http://schemas.microsoft.com/office/drawing/2014/main" val="20003"/>
                    </a:ext>
                  </a:extLst>
                </a:gridCol>
              </a:tblGrid>
              <a:tr h="477966">
                <a:tc>
                  <a:txBody>
                    <a:bodyPr/>
                    <a:lstStyle/>
                    <a:p>
                      <a:r>
                        <a:rPr lang="en-US" sz="2300">
                          <a:latin typeface="Calibri Light"/>
                          <a:ea typeface="Proxima Nova" charset="0"/>
                          <a:cs typeface="Proxima Nova" charset="0"/>
                        </a:rPr>
                        <a:t>Milestone</a:t>
                      </a:r>
                    </a:p>
                  </a:txBody>
                  <a:tcPr marL="90868" marR="90868" marT="45435" marB="45435"/>
                </a:tc>
                <a:tc>
                  <a:txBody>
                    <a:bodyPr/>
                    <a:lstStyle/>
                    <a:p>
                      <a:r>
                        <a:rPr lang="en-US" sz="2300">
                          <a:latin typeface="Calibri Light"/>
                          <a:ea typeface="Proxima Nova" charset="0"/>
                          <a:cs typeface="Proxima Nova" charset="0"/>
                        </a:rPr>
                        <a:t>Target</a:t>
                      </a:r>
                    </a:p>
                  </a:txBody>
                  <a:tcPr marL="90868" marR="90868" marT="45435" marB="45435"/>
                </a:tc>
                <a:tc>
                  <a:txBody>
                    <a:bodyPr/>
                    <a:lstStyle/>
                    <a:p>
                      <a:pPr algn="l"/>
                      <a:r>
                        <a:rPr lang="en-US" sz="2300">
                          <a:latin typeface="Calibri Light"/>
                          <a:ea typeface="Proxima Nova" charset="0"/>
                          <a:cs typeface="Proxima Nova" charset="0"/>
                        </a:rPr>
                        <a:t>Phase</a:t>
                      </a:r>
                    </a:p>
                  </a:txBody>
                  <a:tcPr marL="90868" marR="90868" marT="45435" marB="45435"/>
                </a:tc>
                <a:tc>
                  <a:txBody>
                    <a:bodyPr/>
                    <a:lstStyle/>
                    <a:p>
                      <a:r>
                        <a:rPr lang="en-US" sz="2300">
                          <a:latin typeface="Calibri Light"/>
                          <a:ea typeface="Proxima Nova" charset="0"/>
                          <a:cs typeface="Proxima Nova" charset="0"/>
                        </a:rPr>
                        <a:t>Notes</a:t>
                      </a:r>
                    </a:p>
                  </a:txBody>
                  <a:tcPr marL="90868" marR="90868" marT="45435" marB="45435"/>
                </a:tc>
                <a:extLst>
                  <a:ext uri="{0D108BD9-81ED-4DB2-BD59-A6C34878D82A}">
                    <a16:rowId xmlns:a16="http://schemas.microsoft.com/office/drawing/2014/main" val="10000"/>
                  </a:ext>
                </a:extLst>
              </a:tr>
              <a:tr h="447486">
                <a:tc>
                  <a:txBody>
                    <a:bodyPr/>
                    <a:lstStyle/>
                    <a:p>
                      <a:r>
                        <a:rPr lang="en-US" sz="2100">
                          <a:latin typeface="Calibri Light"/>
                          <a:ea typeface="Proxima Nova" charset="0"/>
                          <a:cs typeface="Proxima Nova" charset="0"/>
                        </a:rPr>
                        <a:t>Engagement Plan created</a:t>
                      </a:r>
                    </a:p>
                  </a:txBody>
                  <a:tcPr marL="90868" marR="90868" marT="45435" marB="45435"/>
                </a:tc>
                <a:tc>
                  <a:txBody>
                    <a:bodyPr/>
                    <a:lstStyle/>
                    <a:p>
                      <a:r>
                        <a:rPr lang="en-US" sz="2100">
                          <a:latin typeface="Calibri Light"/>
                          <a:ea typeface="Proxima Nova" charset="0"/>
                          <a:cs typeface="Proxima Nova" charset="0"/>
                        </a:rPr>
                        <a:t>Met</a:t>
                      </a:r>
                    </a:p>
                  </a:txBody>
                  <a:tcPr marL="90868" marR="90868" marT="45435" marB="45435"/>
                </a:tc>
                <a:tc>
                  <a:txBody>
                    <a:bodyPr/>
                    <a:lstStyle/>
                    <a:p>
                      <a:pPr algn="l"/>
                      <a:r>
                        <a:rPr lang="en-US" sz="2100">
                          <a:latin typeface="Calibri Light"/>
                          <a:ea typeface="Proxima Nova" charset="0"/>
                          <a:cs typeface="Proxima Nova" charset="0"/>
                        </a:rPr>
                        <a:t>Alignment/Planning</a:t>
                      </a:r>
                    </a:p>
                  </a:txBody>
                  <a:tcPr marL="90868" marR="90868" marT="45435" marB="45435"/>
                </a:tc>
                <a:tc>
                  <a:txBody>
                    <a:bodyPr/>
                    <a:lstStyle/>
                    <a:p>
                      <a:endParaRPr lang="en-US" sz="2100">
                        <a:latin typeface="Calibri Light"/>
                        <a:ea typeface="Proxima Nova" charset="0"/>
                        <a:cs typeface="Proxima Nova" charset="0"/>
                      </a:endParaRPr>
                    </a:p>
                  </a:txBody>
                  <a:tcPr marL="90868" marR="90868" marT="45435" marB="45435"/>
                </a:tc>
                <a:extLst>
                  <a:ext uri="{0D108BD9-81ED-4DB2-BD59-A6C34878D82A}">
                    <a16:rowId xmlns:a16="http://schemas.microsoft.com/office/drawing/2014/main" val="10001"/>
                  </a:ext>
                </a:extLst>
              </a:tr>
              <a:tr h="447486">
                <a:tc>
                  <a:txBody>
                    <a:bodyPr/>
                    <a:lstStyle/>
                    <a:p>
                      <a:r>
                        <a:rPr lang="en-US" sz="2100">
                          <a:latin typeface="Calibri Light"/>
                          <a:ea typeface="Proxima Nova" charset="0"/>
                          <a:cs typeface="Proxima Nova" charset="0"/>
                        </a:rPr>
                        <a:t>Discovery</a:t>
                      </a:r>
                      <a:r>
                        <a:rPr lang="en-US" sz="2100" baseline="0">
                          <a:latin typeface="Calibri Light"/>
                          <a:ea typeface="Proxima Nova" charset="0"/>
                          <a:cs typeface="Proxima Nova" charset="0"/>
                        </a:rPr>
                        <a:t> sessions complete</a:t>
                      </a:r>
                      <a:endParaRPr lang="en-US" sz="2100">
                        <a:latin typeface="Calibri Light"/>
                        <a:ea typeface="Proxima Nova" charset="0"/>
                        <a:cs typeface="Proxima Nova" charset="0"/>
                      </a:endParaRPr>
                    </a:p>
                  </a:txBody>
                  <a:tcPr marL="90868" marR="90868" marT="45435" marB="45435"/>
                </a:tc>
                <a:tc>
                  <a:txBody>
                    <a:bodyPr/>
                    <a:lstStyle/>
                    <a:p>
                      <a:r>
                        <a:rPr lang="en-US" sz="2100">
                          <a:latin typeface="Calibri Light"/>
                          <a:ea typeface="Proxima Nova" charset="0"/>
                          <a:cs typeface="Proxima Nova" charset="0"/>
                        </a:rPr>
                        <a:t>Met</a:t>
                      </a:r>
                    </a:p>
                  </a:txBody>
                  <a:tcPr marL="90868" marR="90868" marT="45435" marB="45435"/>
                </a:tc>
                <a:tc>
                  <a:txBody>
                    <a:bodyPr/>
                    <a:lstStyle/>
                    <a:p>
                      <a:pPr algn="l"/>
                      <a:r>
                        <a:rPr lang="en-US" sz="2100">
                          <a:latin typeface="Calibri Light"/>
                          <a:ea typeface="Proxima Nova" charset="0"/>
                          <a:cs typeface="Proxima Nova" charset="0"/>
                        </a:rPr>
                        <a:t>Alignment/Discovery</a:t>
                      </a:r>
                    </a:p>
                  </a:txBody>
                  <a:tcPr marL="90868" marR="90868" marT="45435" marB="45435"/>
                </a:tc>
                <a:tc>
                  <a:txBody>
                    <a:bodyPr/>
                    <a:lstStyle/>
                    <a:p>
                      <a:endParaRPr lang="en-US" sz="2100">
                        <a:latin typeface="Calibri Light"/>
                        <a:ea typeface="Proxima Nova" charset="0"/>
                        <a:cs typeface="Proxima Nova" charset="0"/>
                      </a:endParaRPr>
                    </a:p>
                  </a:txBody>
                  <a:tcPr marL="90868" marR="90868" marT="45435" marB="45435"/>
                </a:tc>
                <a:extLst>
                  <a:ext uri="{0D108BD9-81ED-4DB2-BD59-A6C34878D82A}">
                    <a16:rowId xmlns:a16="http://schemas.microsoft.com/office/drawing/2014/main" val="10002"/>
                  </a:ext>
                </a:extLst>
              </a:tr>
              <a:tr h="767526">
                <a:tc>
                  <a:txBody>
                    <a:bodyPr/>
                    <a:lstStyle/>
                    <a:p>
                      <a:r>
                        <a:rPr lang="en-US" sz="2100">
                          <a:latin typeface="Calibri Light"/>
                          <a:ea typeface="Proxima Nova" charset="0"/>
                          <a:cs typeface="Proxima Nova" charset="0"/>
                        </a:rPr>
                        <a:t>Core Team readiness complete</a:t>
                      </a:r>
                    </a:p>
                  </a:txBody>
                  <a:tcPr marL="90868" marR="90868" marT="45435" marB="45435"/>
                </a:tc>
                <a:tc>
                  <a:txBody>
                    <a:bodyPr/>
                    <a:lstStyle/>
                    <a:p>
                      <a:r>
                        <a:rPr lang="en-US" sz="2100">
                          <a:latin typeface="Calibri Light"/>
                          <a:ea typeface="Proxima Nova" charset="0"/>
                          <a:cs typeface="Proxima Nova" charset="0"/>
                        </a:rPr>
                        <a:t>Met</a:t>
                      </a:r>
                    </a:p>
                  </a:txBody>
                  <a:tcPr marL="90868" marR="90868" marT="45435" marB="45435"/>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100">
                          <a:latin typeface="Calibri Light"/>
                          <a:ea typeface="Proxima Nova" charset="0"/>
                          <a:cs typeface="Proxima Nova" charset="0"/>
                        </a:rPr>
                        <a:t>Alignment/Discovery</a:t>
                      </a:r>
                    </a:p>
                  </a:txBody>
                  <a:tcPr marL="90868" marR="90868" marT="45435" marB="45435"/>
                </a:tc>
                <a:tc>
                  <a:txBody>
                    <a:bodyPr/>
                    <a:lstStyle/>
                    <a:p>
                      <a:r>
                        <a:rPr lang="en-US" sz="2100">
                          <a:latin typeface="Calibri Light"/>
                          <a:ea typeface="Proxima Nova" charset="0"/>
                          <a:cs typeface="Proxima Nova" charset="0"/>
                        </a:rPr>
                        <a:t>eLearning complete</a:t>
                      </a:r>
                    </a:p>
                  </a:txBody>
                  <a:tcPr marL="90868" marR="90868" marT="45435" marB="45435"/>
                </a:tc>
                <a:extLst>
                  <a:ext uri="{0D108BD9-81ED-4DB2-BD59-A6C34878D82A}">
                    <a16:rowId xmlns:a16="http://schemas.microsoft.com/office/drawing/2014/main" val="10003"/>
                  </a:ext>
                </a:extLst>
              </a:tr>
              <a:tr h="767526">
                <a:tc>
                  <a:txBody>
                    <a:bodyPr/>
                    <a:lstStyle/>
                    <a:p>
                      <a:r>
                        <a:rPr lang="en-US" sz="2100">
                          <a:latin typeface="Calibri Light"/>
                          <a:ea typeface="Proxima Nova" charset="0"/>
                          <a:cs typeface="Proxima Nova" charset="0"/>
                        </a:rPr>
                        <a:t>Initial</a:t>
                      </a:r>
                      <a:r>
                        <a:rPr lang="en-US" sz="2100" baseline="0">
                          <a:latin typeface="Calibri Light"/>
                          <a:ea typeface="Proxima Nova" charset="0"/>
                          <a:cs typeface="Proxima Nova" charset="0"/>
                        </a:rPr>
                        <a:t> AWS</a:t>
                      </a:r>
                      <a:r>
                        <a:rPr lang="en-US" sz="2100">
                          <a:latin typeface="Calibri Light"/>
                          <a:ea typeface="Proxima Nova" charset="0"/>
                          <a:cs typeface="Proxima Nova" charset="0"/>
                        </a:rPr>
                        <a:t> configuration complete</a:t>
                      </a:r>
                    </a:p>
                  </a:txBody>
                  <a:tcPr marL="90868" marR="90868" marT="45435" marB="45435"/>
                </a:tc>
                <a:tc>
                  <a:txBody>
                    <a:bodyPr/>
                    <a:lstStyle/>
                    <a:p>
                      <a:r>
                        <a:rPr lang="en-US" sz="2100">
                          <a:latin typeface="Calibri Light"/>
                          <a:ea typeface="Proxima Nova" charset="0"/>
                          <a:cs typeface="Proxima Nova" charset="0"/>
                        </a:rPr>
                        <a:t>In progress</a:t>
                      </a:r>
                    </a:p>
                  </a:txBody>
                  <a:tcPr marL="90868" marR="90868" marT="45435" marB="45435"/>
                </a:tc>
                <a:tc>
                  <a:txBody>
                    <a:bodyPr/>
                    <a:lstStyle/>
                    <a:p>
                      <a:pPr algn="l"/>
                      <a:r>
                        <a:rPr lang="en-US" sz="2100">
                          <a:latin typeface="Calibri Light"/>
                          <a:ea typeface="Proxima Nova" charset="0"/>
                          <a:cs typeface="Proxima Nova" charset="0"/>
                        </a:rPr>
                        <a:t>Alignment/Validation</a:t>
                      </a:r>
                    </a:p>
                  </a:txBody>
                  <a:tcPr marL="90868" marR="90868" marT="45435" marB="45435"/>
                </a:tc>
                <a:tc>
                  <a:txBody>
                    <a:bodyPr/>
                    <a:lstStyle/>
                    <a:p>
                      <a:r>
                        <a:rPr lang="en-US" sz="2100">
                          <a:latin typeface="Calibri Light"/>
                          <a:ea typeface="Proxima Nova" charset="0"/>
                          <a:cs typeface="Proxima Nova" charset="0"/>
                        </a:rPr>
                        <a:t>End</a:t>
                      </a:r>
                      <a:r>
                        <a:rPr lang="en-US" sz="2100" baseline="0">
                          <a:latin typeface="Calibri Light"/>
                          <a:ea typeface="Proxima Nova" charset="0"/>
                          <a:cs typeface="Proxima Nova" charset="0"/>
                        </a:rPr>
                        <a:t> of Design and Configuration</a:t>
                      </a:r>
                      <a:endParaRPr lang="en-US" sz="2100">
                        <a:latin typeface="Calibri Light"/>
                        <a:ea typeface="Proxima Nova" charset="0"/>
                        <a:cs typeface="Proxima Nova" charset="0"/>
                      </a:endParaRPr>
                    </a:p>
                  </a:txBody>
                  <a:tcPr marL="90868" marR="90868" marT="45435" marB="45435"/>
                </a:tc>
                <a:extLst>
                  <a:ext uri="{0D108BD9-81ED-4DB2-BD59-A6C34878D82A}">
                    <a16:rowId xmlns:a16="http://schemas.microsoft.com/office/drawing/2014/main" val="10004"/>
                  </a:ext>
                </a:extLst>
              </a:tr>
              <a:tr h="767526">
                <a:tc>
                  <a:txBody>
                    <a:bodyPr/>
                    <a:lstStyle/>
                    <a:p>
                      <a:r>
                        <a:rPr lang="en-US" sz="2100">
                          <a:latin typeface="Calibri Light"/>
                          <a:ea typeface="Proxima Nova" charset="0"/>
                          <a:cs typeface="Proxima Nova" charset="0"/>
                        </a:rPr>
                        <a:t>End User Orientation </a:t>
                      </a:r>
                    </a:p>
                  </a:txBody>
                  <a:tcPr marL="90868" marR="90868" marT="45435" marB="45435"/>
                </a:tc>
                <a:tc>
                  <a:txBody>
                    <a:bodyPr/>
                    <a:lstStyle/>
                    <a:p>
                      <a:r>
                        <a:rPr lang="en-US" sz="2100">
                          <a:latin typeface="Calibri Light"/>
                          <a:ea typeface="Proxima Nova" charset="0"/>
                          <a:cs typeface="Proxima Nova" charset="0"/>
                        </a:rPr>
                        <a:t>Yet to meet</a:t>
                      </a:r>
                    </a:p>
                  </a:txBody>
                  <a:tcPr marL="90868" marR="90868" marT="45435" marB="45435"/>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100">
                          <a:latin typeface="Calibri Light"/>
                          <a:ea typeface="Proxima Nova" charset="0"/>
                          <a:cs typeface="Proxima Nova" charset="0"/>
                        </a:rPr>
                        <a:t>Alignment/Validation</a:t>
                      </a:r>
                    </a:p>
                    <a:p>
                      <a:pPr algn="l"/>
                      <a:r>
                        <a:rPr lang="en-US" sz="2100">
                          <a:latin typeface="Calibri Light"/>
                          <a:ea typeface="Proxima Nova" charset="0"/>
                          <a:cs typeface="Proxima Nova" charset="0"/>
                        </a:rPr>
                        <a:t>Launch</a:t>
                      </a:r>
                    </a:p>
                  </a:txBody>
                  <a:tcPr marL="90868" marR="90868" marT="45435" marB="45435"/>
                </a:tc>
                <a:tc>
                  <a:txBody>
                    <a:bodyPr/>
                    <a:lstStyle/>
                    <a:p>
                      <a:r>
                        <a:rPr lang="en-US" sz="2100">
                          <a:latin typeface="Calibri Light"/>
                          <a:ea typeface="Proxima Nova" charset="0"/>
                          <a:cs typeface="Proxima Nova" charset="0"/>
                        </a:rPr>
                        <a:t>End</a:t>
                      </a:r>
                      <a:r>
                        <a:rPr lang="en-US" sz="2100" baseline="0">
                          <a:latin typeface="Calibri Light"/>
                          <a:ea typeface="Proxima Nova" charset="0"/>
                          <a:cs typeface="Proxima Nova" charset="0"/>
                        </a:rPr>
                        <a:t> of Design and Configuration</a:t>
                      </a:r>
                      <a:endParaRPr lang="en-US" sz="2100">
                        <a:latin typeface="Calibri Light"/>
                        <a:ea typeface="Proxima Nova" charset="0"/>
                        <a:cs typeface="Proxima Nova" charset="0"/>
                      </a:endParaRPr>
                    </a:p>
                  </a:txBody>
                  <a:tcPr marL="90868" marR="90868" marT="45435" marB="45435"/>
                </a:tc>
                <a:extLst>
                  <a:ext uri="{0D108BD9-81ED-4DB2-BD59-A6C34878D82A}">
                    <a16:rowId xmlns:a16="http://schemas.microsoft.com/office/drawing/2014/main" val="10005"/>
                  </a:ext>
                </a:extLst>
              </a:tr>
              <a:tr h="447486">
                <a:tc>
                  <a:txBody>
                    <a:bodyPr/>
                    <a:lstStyle/>
                    <a:p>
                      <a:r>
                        <a:rPr lang="en-US" sz="2100">
                          <a:latin typeface="Calibri Light"/>
                          <a:ea typeface="Proxima Nova" charset="0"/>
                          <a:cs typeface="Proxima Nova" charset="0"/>
                        </a:rPr>
                        <a:t>Product Launched</a:t>
                      </a:r>
                    </a:p>
                  </a:txBody>
                  <a:tcPr marL="90868" marR="90868" marT="45435" marB="45435"/>
                </a:tc>
                <a:tc>
                  <a:txBody>
                    <a:bodyPr/>
                    <a:lstStyle/>
                    <a:p>
                      <a:r>
                        <a:rPr lang="en-US" sz="2100">
                          <a:latin typeface="Calibri Light"/>
                          <a:ea typeface="Proxima Nova" charset="0"/>
                          <a:cs typeface="Proxima Nova" charset="0"/>
                        </a:rPr>
                        <a:t>Yet to meet</a:t>
                      </a:r>
                    </a:p>
                  </a:txBody>
                  <a:tcPr marL="90868" marR="90868" marT="45435" marB="45435"/>
                </a:tc>
                <a:tc>
                  <a:txBody>
                    <a:bodyPr/>
                    <a:lstStyle/>
                    <a:p>
                      <a:pPr algn="l"/>
                      <a:r>
                        <a:rPr lang="en-US" sz="2100">
                          <a:latin typeface="Calibri Light"/>
                          <a:ea typeface="Proxima Nova" charset="0"/>
                          <a:cs typeface="Proxima Nova" charset="0"/>
                        </a:rPr>
                        <a:t>Launch</a:t>
                      </a:r>
                    </a:p>
                  </a:txBody>
                  <a:tcPr marL="90868" marR="90868" marT="45435" marB="45435"/>
                </a:tc>
                <a:tc>
                  <a:txBody>
                    <a:bodyPr/>
                    <a:lstStyle/>
                    <a:p>
                      <a:endParaRPr lang="en-US" sz="2100">
                        <a:latin typeface="Calibri Light"/>
                        <a:ea typeface="Proxima Nova" charset="0"/>
                        <a:cs typeface="Proxima Nova" charset="0"/>
                      </a:endParaRPr>
                    </a:p>
                  </a:txBody>
                  <a:tcPr marL="90868" marR="90868" marT="45435" marB="45435"/>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9437633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522B21E-B2B9-4C72-9A71-C87EFD1374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EB7D2A2-F448-44D4-938C-DC84CBCB3B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44125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71AEA07-1E14-44B4-8E55-64EF049CD6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464" y="551962"/>
            <a:ext cx="10999072" cy="4618549"/>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0820459-CE88-42C9-9947-2AC726DD3831}"/>
              </a:ext>
            </a:extLst>
          </p:cNvPr>
          <p:cNvSpPr>
            <a:spLocks noGrp="1"/>
          </p:cNvSpPr>
          <p:nvPr>
            <p:ph type="title"/>
          </p:nvPr>
        </p:nvSpPr>
        <p:spPr>
          <a:xfrm>
            <a:off x="1524000" y="1293338"/>
            <a:ext cx="9144000" cy="3274592"/>
          </a:xfrm>
        </p:spPr>
        <p:txBody>
          <a:bodyPr vert="horz" lIns="91440" tIns="45720" rIns="91440" bIns="45720" rtlCol="0" anchor="ctr">
            <a:normAutofit/>
          </a:bodyPr>
          <a:lstStyle/>
          <a:p>
            <a:pPr algn="ctr"/>
            <a:r>
              <a:rPr lang="en-US" b="1"/>
              <a:t>THANK YOU </a:t>
            </a:r>
            <a:br>
              <a:rPr lang="en-US" b="1" kern="1200"/>
            </a:br>
            <a:r>
              <a:rPr lang="en-US" b="1" kern="1200">
                <a:latin typeface="+mj-lt"/>
                <a:ea typeface="+mj-ea"/>
                <a:cs typeface="+mj-cs"/>
              </a:rPr>
              <a:t> </a:t>
            </a:r>
            <a:r>
              <a:rPr lang="en-US" b="1"/>
              <a:t>ANY QUESTIONS </a:t>
            </a:r>
            <a:r>
              <a:rPr lang="en-US" b="1" kern="1200">
                <a:latin typeface="+mj-lt"/>
                <a:ea typeface="+mj-ea"/>
                <a:cs typeface="+mj-cs"/>
              </a:rPr>
              <a:t>?????</a:t>
            </a:r>
            <a:endParaRPr lang="en-US" b="1" kern="1200">
              <a:latin typeface="+mj-lt"/>
              <a:cs typeface="Calibri Light"/>
            </a:endParaRPr>
          </a:p>
        </p:txBody>
      </p:sp>
      <p:cxnSp>
        <p:nvCxnSpPr>
          <p:cNvPr id="13" name="Straight Connector 12">
            <a:extLst>
              <a:ext uri="{FF2B5EF4-FFF2-40B4-BE49-F238E27FC236}">
                <a16:creationId xmlns:a16="http://schemas.microsoft.com/office/drawing/2014/main" id="{F7C8EA93-3210-4C62-99E9-153C275E3A8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596464" y="6354708"/>
            <a:ext cx="11000232" cy="0"/>
          </a:xfrm>
          <a:prstGeom prst="line">
            <a:avLst/>
          </a:prstGeom>
          <a:ln w="1016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15376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47942995-B07F-4636-9A06-C6A104B260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B8A7F61-6CA5-4F59-9E34-BA37514CB361}"/>
              </a:ext>
            </a:extLst>
          </p:cNvPr>
          <p:cNvSpPr>
            <a:spLocks noGrp="1"/>
          </p:cNvSpPr>
          <p:nvPr>
            <p:ph type="ctrTitle"/>
          </p:nvPr>
        </p:nvSpPr>
        <p:spPr>
          <a:xfrm>
            <a:off x="291353" y="1277257"/>
            <a:ext cx="5396649" cy="1429010"/>
          </a:xfrm>
        </p:spPr>
        <p:txBody>
          <a:bodyPr anchor="t">
            <a:normAutofit/>
          </a:bodyPr>
          <a:lstStyle/>
          <a:p>
            <a:pPr algn="l"/>
            <a:r>
              <a:rPr lang="en-US" sz="3800" b="1"/>
              <a:t>SCOPE, BUDGET and TIME</a:t>
            </a:r>
            <a:endParaRPr lang="en-US" sz="3800" b="1">
              <a:cs typeface="Calibri Light"/>
            </a:endParaRPr>
          </a:p>
        </p:txBody>
      </p:sp>
      <p:sp>
        <p:nvSpPr>
          <p:cNvPr id="3" name="Subtitle 2">
            <a:extLst>
              <a:ext uri="{FF2B5EF4-FFF2-40B4-BE49-F238E27FC236}">
                <a16:creationId xmlns:a16="http://schemas.microsoft.com/office/drawing/2014/main" id="{0520F9D1-DA88-4699-B135-6BD0FA6AFE26}"/>
              </a:ext>
            </a:extLst>
          </p:cNvPr>
          <p:cNvSpPr>
            <a:spLocks noGrp="1"/>
          </p:cNvSpPr>
          <p:nvPr>
            <p:ph type="subTitle" idx="1"/>
          </p:nvPr>
        </p:nvSpPr>
        <p:spPr>
          <a:xfrm>
            <a:off x="899595" y="2708916"/>
            <a:ext cx="4036333" cy="1658490"/>
          </a:xfrm>
        </p:spPr>
        <p:txBody>
          <a:bodyPr anchor="b">
            <a:noAutofit/>
          </a:bodyPr>
          <a:lstStyle/>
          <a:p>
            <a:pPr algn="just"/>
            <a:r>
              <a:rPr lang="en-US" sz="2000" b="0" i="0">
                <a:effectLst/>
                <a:latin typeface="Calibri"/>
                <a:cs typeface="Calibri"/>
              </a:rPr>
              <a:t>Design and implement a distributed analytical system using AWS Elastic Computing instances. The project is estimated to cost $1.5m with a timeline of </a:t>
            </a:r>
            <a:r>
              <a:rPr lang="en-US" sz="2000">
                <a:latin typeface="Calibri"/>
                <a:cs typeface="Calibri"/>
              </a:rPr>
              <a:t>8 months</a:t>
            </a:r>
            <a:r>
              <a:rPr lang="en-US" sz="2000" b="0" i="0">
                <a:effectLst/>
                <a:latin typeface="Calibri"/>
                <a:cs typeface="Calibri"/>
              </a:rPr>
              <a:t>. </a:t>
            </a:r>
            <a:endParaRPr lang="en-US" sz="2000">
              <a:cs typeface="Calibri"/>
            </a:endParaRPr>
          </a:p>
        </p:txBody>
      </p:sp>
      <p:grpSp>
        <p:nvGrpSpPr>
          <p:cNvPr id="21" name="Group 20">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984992"/>
            <a:ext cx="731521" cy="673460"/>
            <a:chOff x="3940602" y="308034"/>
            <a:chExt cx="2116791" cy="3428999"/>
          </a:xfrm>
          <a:solidFill>
            <a:schemeClr val="accent4"/>
          </a:solidFill>
        </p:grpSpPr>
        <p:sp>
          <p:nvSpPr>
            <p:cNvPr id="22" name="Rectangle 21">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2">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3">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Rectangle 25">
            <a:extLst>
              <a:ext uri="{FF2B5EF4-FFF2-40B4-BE49-F238E27FC236}">
                <a16:creationId xmlns:a16="http://schemas.microsoft.com/office/drawing/2014/main" id="{B81933D1-5615-42C7-9C0B-4EB7105CCE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391886"/>
            <a:ext cx="6009366" cy="6017078"/>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1127CC09-2AE3-4CA4-9C5D-D33643BE31B6}"/>
              </a:ext>
            </a:extLst>
          </p:cNvPr>
          <p:cNvPicPr>
            <a:picLocks noChangeAspect="1"/>
          </p:cNvPicPr>
          <p:nvPr/>
        </p:nvPicPr>
        <p:blipFill rotWithShape="1">
          <a:blip r:embed="rId2">
            <a:extLst>
              <a:ext uri="{28A0092B-C50C-407E-A947-70E740481C1C}">
                <a14:useLocalDpi xmlns:a14="http://schemas.microsoft.com/office/drawing/2010/main" val="0"/>
              </a:ext>
            </a:extLst>
          </a:blip>
          <a:srcRect t="11745"/>
          <a:stretch/>
        </p:blipFill>
        <p:spPr>
          <a:xfrm>
            <a:off x="5933770" y="1052623"/>
            <a:ext cx="5503248" cy="4710224"/>
          </a:xfrm>
          <a:prstGeom prst="rect">
            <a:avLst/>
          </a:prstGeom>
        </p:spPr>
      </p:pic>
    </p:spTree>
    <p:extLst>
      <p:ext uri="{BB962C8B-B14F-4D97-AF65-F5344CB8AC3E}">
        <p14:creationId xmlns:p14="http://schemas.microsoft.com/office/powerpoint/2010/main" val="40697528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0" name="Rectangle 39">
            <a:extLst>
              <a:ext uri="{FF2B5EF4-FFF2-40B4-BE49-F238E27FC236}">
                <a16:creationId xmlns:a16="http://schemas.microsoft.com/office/drawing/2014/main" id="{201CC55D-ED54-4C5C-95E6-10947BD110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EC5811-F0F7-4172-8437-6EE4938BCAA9}"/>
              </a:ext>
            </a:extLst>
          </p:cNvPr>
          <p:cNvSpPr>
            <a:spLocks noGrp="1"/>
          </p:cNvSpPr>
          <p:nvPr>
            <p:ph type="title"/>
          </p:nvPr>
        </p:nvSpPr>
        <p:spPr>
          <a:xfrm>
            <a:off x="1268129" y="856180"/>
            <a:ext cx="3882015" cy="1128068"/>
          </a:xfrm>
        </p:spPr>
        <p:txBody>
          <a:bodyPr anchor="ctr">
            <a:normAutofit/>
          </a:bodyPr>
          <a:lstStyle/>
          <a:p>
            <a:r>
              <a:rPr lang="en-US" sz="4000" b="1"/>
              <a:t>BUSINESS CASE  </a:t>
            </a:r>
            <a:endParaRPr lang="en-US" sz="4000" b="1">
              <a:cs typeface="Calibri Light"/>
            </a:endParaRPr>
          </a:p>
        </p:txBody>
      </p:sp>
      <p:grpSp>
        <p:nvGrpSpPr>
          <p:cNvPr id="42" name="Group 41">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43" name="Rectangle 42">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Rectangle 45">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090569"/>
            <a:ext cx="429768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670E1F4-B15C-456D-8257-CFE3BD3A3848}"/>
              </a:ext>
            </a:extLst>
          </p:cNvPr>
          <p:cNvSpPr>
            <a:spLocks noGrp="1"/>
          </p:cNvSpPr>
          <p:nvPr>
            <p:ph idx="1"/>
          </p:nvPr>
        </p:nvSpPr>
        <p:spPr>
          <a:xfrm>
            <a:off x="242376" y="2228905"/>
            <a:ext cx="5299653" cy="3994099"/>
          </a:xfrm>
        </p:spPr>
        <p:txBody>
          <a:bodyPr anchor="ctr">
            <a:normAutofit/>
          </a:bodyPr>
          <a:lstStyle/>
          <a:p>
            <a:pPr marL="0" indent="0" algn="just">
              <a:buNone/>
            </a:pPr>
            <a:r>
              <a:rPr lang="en-US" sz="2400" b="0" i="0">
                <a:effectLst/>
                <a:latin typeface="Calibri Light"/>
                <a:cs typeface="Times New Roman"/>
              </a:rPr>
              <a:t>As the data grows, the current traditional data warehousing techniques cannot efficiently handle the data requirements from our functional areas, which is a threat to our strategic goals. Thus, the existing traditional data warehouse is gradually failing in handling big data within the organization</a:t>
            </a:r>
            <a:r>
              <a:rPr lang="en-US" sz="2400" b="0" i="0">
                <a:effectLst/>
                <a:latin typeface="Calibri Light"/>
                <a:cs typeface="Calibri Light"/>
              </a:rPr>
              <a:t>.</a:t>
            </a:r>
            <a:r>
              <a:rPr lang="en-US" sz="2400">
                <a:latin typeface="Calibri Light"/>
                <a:cs typeface="Calibri Light"/>
              </a:rPr>
              <a:t> </a:t>
            </a:r>
          </a:p>
        </p:txBody>
      </p:sp>
      <p:sp>
        <p:nvSpPr>
          <p:cNvPr id="48" name="Rectangle 47">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513853"/>
            <a:ext cx="6009366" cy="583457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4">
            <a:extLst>
              <a:ext uri="{FF2B5EF4-FFF2-40B4-BE49-F238E27FC236}">
                <a16:creationId xmlns:a16="http://schemas.microsoft.com/office/drawing/2014/main" id="{67449240-51FA-4048-A532-58D8E10A2D80}"/>
              </a:ext>
            </a:extLst>
          </p:cNvPr>
          <p:cNvPicPr>
            <a:picLocks noChangeAspect="1"/>
          </p:cNvPicPr>
          <p:nvPr/>
        </p:nvPicPr>
        <p:blipFill rotWithShape="1">
          <a:blip r:embed="rId2"/>
          <a:srcRect l="26949" r="4194" b="1"/>
          <a:stretch/>
        </p:blipFill>
        <p:spPr>
          <a:xfrm>
            <a:off x="6035845" y="799352"/>
            <a:ext cx="5367353" cy="5259296"/>
          </a:xfrm>
          <a:prstGeom prst="rect">
            <a:avLst/>
          </a:prstGeom>
        </p:spPr>
      </p:pic>
    </p:spTree>
    <p:extLst>
      <p:ext uri="{BB962C8B-B14F-4D97-AF65-F5344CB8AC3E}">
        <p14:creationId xmlns:p14="http://schemas.microsoft.com/office/powerpoint/2010/main" val="242645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6A84B152-3496-4C52-AF08-97AFFC09DD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21F35B99-1ADB-406D-9982-207599C4059F}"/>
              </a:ext>
            </a:extLst>
          </p:cNvPr>
          <p:cNvSpPr>
            <a:spLocks noGrp="1"/>
          </p:cNvSpPr>
          <p:nvPr>
            <p:ph type="title"/>
          </p:nvPr>
        </p:nvSpPr>
        <p:spPr>
          <a:xfrm>
            <a:off x="1694543" y="365125"/>
            <a:ext cx="4537018" cy="1332820"/>
          </a:xfrm>
        </p:spPr>
        <p:txBody>
          <a:bodyPr>
            <a:normAutofit/>
          </a:bodyPr>
          <a:lstStyle/>
          <a:p>
            <a:r>
              <a:rPr lang="en-US" sz="4000" b="1">
                <a:latin typeface="Calibri Light"/>
                <a:cs typeface="Times New Roman"/>
              </a:rPr>
              <a:t>CHALLENGES 	</a:t>
            </a:r>
          </a:p>
        </p:txBody>
      </p:sp>
      <p:sp>
        <p:nvSpPr>
          <p:cNvPr id="29" name="Freeform: Shape 28">
            <a:extLst>
              <a:ext uri="{FF2B5EF4-FFF2-40B4-BE49-F238E27FC236}">
                <a16:creationId xmlns:a16="http://schemas.microsoft.com/office/drawing/2014/main" id="{6B2ADB95-0FA3-4BD7-A8AC-89D014A83E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198657" y="1"/>
            <a:ext cx="1155142" cy="625027"/>
          </a:xfrm>
          <a:custGeom>
            <a:avLst/>
            <a:gdLst>
              <a:gd name="connsiteX0" fmla="*/ 4784 w 1155142"/>
              <a:gd name="connsiteY0" fmla="*/ 0 h 625027"/>
              <a:gd name="connsiteX1" fmla="*/ 1150358 w 1155142"/>
              <a:gd name="connsiteY1" fmla="*/ 0 h 625027"/>
              <a:gd name="connsiteX2" fmla="*/ 1155142 w 1155142"/>
              <a:gd name="connsiteY2" fmla="*/ 47456 h 625027"/>
              <a:gd name="connsiteX3" fmla="*/ 577571 w 1155142"/>
              <a:gd name="connsiteY3" fmla="*/ 625027 h 625027"/>
              <a:gd name="connsiteX4" fmla="*/ 0 w 1155142"/>
              <a:gd name="connsiteY4" fmla="*/ 47456 h 62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625027">
                <a:moveTo>
                  <a:pt x="4784" y="0"/>
                </a:moveTo>
                <a:lnTo>
                  <a:pt x="1150358" y="0"/>
                </a:lnTo>
                <a:lnTo>
                  <a:pt x="1155142" y="47456"/>
                </a:lnTo>
                <a:cubicBezTo>
                  <a:pt x="1155142" y="366440"/>
                  <a:pt x="896555" y="625027"/>
                  <a:pt x="577571" y="625027"/>
                </a:cubicBezTo>
                <a:cubicBezTo>
                  <a:pt x="258587" y="625027"/>
                  <a:pt x="0" y="366440"/>
                  <a:pt x="0" y="47456"/>
                </a:cubicBezTo>
                <a:close/>
              </a:path>
            </a:pathLst>
          </a:cu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Oval 30">
            <a:extLst>
              <a:ext uri="{FF2B5EF4-FFF2-40B4-BE49-F238E27FC236}">
                <a16:creationId xmlns:a16="http://schemas.microsoft.com/office/drawing/2014/main" id="{C924DBCE-E731-4B22-8181-A39C1D8627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8185" y="3423959"/>
            <a:ext cx="630884" cy="630884"/>
          </a:xfrm>
          <a:prstGeom prst="ellipse">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4CBF9756-6AC8-4C65-84DF-56FBFFA1D87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450227" y="5166682"/>
            <a:ext cx="1835725" cy="2024785"/>
          </a:xfrm>
          <a:custGeom>
            <a:avLst/>
            <a:gdLst>
              <a:gd name="connsiteX0" fmla="*/ 1801138 w 1835725"/>
              <a:gd name="connsiteY0" fmla="*/ 1622662 h 2024785"/>
              <a:gd name="connsiteX1" fmla="*/ 1835717 w 1835725"/>
              <a:gd name="connsiteY1" fmla="*/ 1680254 h 2024785"/>
              <a:gd name="connsiteX2" fmla="*/ 1812568 w 1835725"/>
              <a:gd name="connsiteY2" fmla="*/ 1877193 h 2024785"/>
              <a:gd name="connsiteX3" fmla="*/ 1776210 w 1835725"/>
              <a:gd name="connsiteY3" fmla="*/ 2024785 h 2024785"/>
              <a:gd name="connsiteX4" fmla="*/ 1655772 w 1835725"/>
              <a:gd name="connsiteY4" fmla="*/ 1983449 h 2024785"/>
              <a:gd name="connsiteX5" fmla="*/ 1687591 w 1835725"/>
              <a:gd name="connsiteY5" fmla="*/ 1854495 h 2024785"/>
              <a:gd name="connsiteX6" fmla="*/ 1708939 w 1835725"/>
              <a:gd name="connsiteY6" fmla="*/ 1673301 h 2024785"/>
              <a:gd name="connsiteX7" fmla="*/ 1778129 w 1835725"/>
              <a:gd name="connsiteY7" fmla="*/ 1615979 h 2024785"/>
              <a:gd name="connsiteX8" fmla="*/ 1801138 w 1835725"/>
              <a:gd name="connsiteY8" fmla="*/ 1622662 h 2024785"/>
              <a:gd name="connsiteX9" fmla="*/ 1585229 w 1835725"/>
              <a:gd name="connsiteY9" fmla="*/ 764759 h 2024785"/>
              <a:gd name="connsiteX10" fmla="*/ 1623024 w 1835725"/>
              <a:gd name="connsiteY10" fmla="*/ 792810 h 2024785"/>
              <a:gd name="connsiteX11" fmla="*/ 1777614 w 1835725"/>
              <a:gd name="connsiteY11" fmla="*/ 1157141 h 2024785"/>
              <a:gd name="connsiteX12" fmla="*/ 1733799 w 1835725"/>
              <a:gd name="connsiteY12" fmla="*/ 1235532 h 2024785"/>
              <a:gd name="connsiteX13" fmla="*/ 1716464 w 1835725"/>
              <a:gd name="connsiteY13" fmla="*/ 1237722 h 2024785"/>
              <a:gd name="connsiteX14" fmla="*/ 1716464 w 1835725"/>
              <a:gd name="connsiteY14" fmla="*/ 1237913 h 2024785"/>
              <a:gd name="connsiteX15" fmla="*/ 1655409 w 1835725"/>
              <a:gd name="connsiteY15" fmla="*/ 1191717 h 2024785"/>
              <a:gd name="connsiteX16" fmla="*/ 1513200 w 1835725"/>
              <a:gd name="connsiteY16" fmla="*/ 856627 h 2024785"/>
              <a:gd name="connsiteX17" fmla="*/ 1538499 w 1835725"/>
              <a:gd name="connsiteY17" fmla="*/ 770415 h 2024785"/>
              <a:gd name="connsiteX18" fmla="*/ 1585229 w 1835725"/>
              <a:gd name="connsiteY18" fmla="*/ 764759 h 2024785"/>
              <a:gd name="connsiteX19" fmla="*/ 477919 w 1835725"/>
              <a:gd name="connsiteY19" fmla="*/ 21437 h 2024785"/>
              <a:gd name="connsiteX20" fmla="*/ 509236 w 1835725"/>
              <a:gd name="connsiteY20" fmla="*/ 84182 h 2024785"/>
              <a:gd name="connsiteX21" fmla="*/ 445829 w 1835725"/>
              <a:gd name="connsiteY21" fmla="*/ 139871 h 2024785"/>
              <a:gd name="connsiteX22" fmla="*/ 437447 w 1835725"/>
              <a:gd name="connsiteY22" fmla="*/ 139395 h 2024785"/>
              <a:gd name="connsiteX23" fmla="*/ 73211 w 1835725"/>
              <a:gd name="connsiteY23" fmla="*/ 137204 h 2024785"/>
              <a:gd name="connsiteX24" fmla="*/ 749 w 1835725"/>
              <a:gd name="connsiteY24" fmla="*/ 84082 h 2024785"/>
              <a:gd name="connsiteX25" fmla="*/ 53871 w 1835725"/>
              <a:gd name="connsiteY25" fmla="*/ 11621 h 2024785"/>
              <a:gd name="connsiteX26" fmla="*/ 58352 w 1835725"/>
              <a:gd name="connsiteY26" fmla="*/ 11093 h 2024785"/>
              <a:gd name="connsiteX27" fmla="*/ 454020 w 1835725"/>
              <a:gd name="connsiteY27" fmla="*/ 13474 h 2024785"/>
              <a:gd name="connsiteX28" fmla="*/ 477919 w 1835725"/>
              <a:gd name="connsiteY28" fmla="*/ 21437 h 2024785"/>
              <a:gd name="connsiteX29" fmla="*/ 957797 w 1835725"/>
              <a:gd name="connsiteY29" fmla="*/ 167970 h 2024785"/>
              <a:gd name="connsiteX30" fmla="*/ 1286982 w 1835725"/>
              <a:gd name="connsiteY30" fmla="*/ 387616 h 2024785"/>
              <a:gd name="connsiteX31" fmla="*/ 1293725 w 1835725"/>
              <a:gd name="connsiteY31" fmla="*/ 477075 h 2024785"/>
              <a:gd name="connsiteX32" fmla="*/ 1245453 w 1835725"/>
              <a:gd name="connsiteY32" fmla="*/ 499154 h 2024785"/>
              <a:gd name="connsiteX33" fmla="*/ 1245167 w 1835725"/>
              <a:gd name="connsiteY33" fmla="*/ 499154 h 2024785"/>
              <a:gd name="connsiteX34" fmla="*/ 1203638 w 1835725"/>
              <a:gd name="connsiteY34" fmla="*/ 484104 h 2024785"/>
              <a:gd name="connsiteX35" fmla="*/ 900647 w 1835725"/>
              <a:gd name="connsiteY35" fmla="*/ 281508 h 2024785"/>
              <a:gd name="connsiteX36" fmla="*/ 872454 w 1835725"/>
              <a:gd name="connsiteY36" fmla="*/ 196164 h 2024785"/>
              <a:gd name="connsiteX37" fmla="*/ 957797 w 1835725"/>
              <a:gd name="connsiteY37" fmla="*/ 167970 h 202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725" h="2024785">
                <a:moveTo>
                  <a:pt x="1801138" y="1622662"/>
                </a:moveTo>
                <a:cubicBezTo>
                  <a:pt x="1822105" y="1633400"/>
                  <a:pt x="1836117" y="1655372"/>
                  <a:pt x="1835717" y="1680254"/>
                </a:cubicBezTo>
                <a:cubicBezTo>
                  <a:pt x="1832093" y="1746382"/>
                  <a:pt x="1824354" y="1812154"/>
                  <a:pt x="1812568" y="1877193"/>
                </a:cubicBezTo>
                <a:lnTo>
                  <a:pt x="1776210" y="2024785"/>
                </a:lnTo>
                <a:lnTo>
                  <a:pt x="1655772" y="1983449"/>
                </a:lnTo>
                <a:lnTo>
                  <a:pt x="1687591" y="1854495"/>
                </a:lnTo>
                <a:cubicBezTo>
                  <a:pt x="1698455" y="1794657"/>
                  <a:pt x="1705590" y="1734142"/>
                  <a:pt x="1708939" y="1673301"/>
                </a:cubicBez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rtlCol="0" anchor="ctr"/>
          <a:lstStyle/>
          <a:p>
            <a:endParaRPr lang="en-US"/>
          </a:p>
        </p:txBody>
      </p:sp>
      <p:pic>
        <p:nvPicPr>
          <p:cNvPr id="23" name="Picture 22">
            <a:extLst>
              <a:ext uri="{FF2B5EF4-FFF2-40B4-BE49-F238E27FC236}">
                <a16:creationId xmlns:a16="http://schemas.microsoft.com/office/drawing/2014/main" id="{1FB97C9B-05EE-443F-AD4E-FE9BB28F6C06}"/>
              </a:ext>
            </a:extLst>
          </p:cNvPr>
          <p:cNvPicPr>
            <a:picLocks noChangeAspect="1"/>
          </p:cNvPicPr>
          <p:nvPr/>
        </p:nvPicPr>
        <p:blipFill rotWithShape="1">
          <a:blip r:embed="rId2"/>
          <a:srcRect l="25000"/>
          <a:stretch/>
        </p:blipFill>
        <p:spPr>
          <a:xfrm>
            <a:off x="7751975" y="1075239"/>
            <a:ext cx="4128603" cy="4128603"/>
          </a:xfrm>
          <a:custGeom>
            <a:avLst/>
            <a:gdLst/>
            <a:ahLst/>
            <a:cxnLst/>
            <a:rect l="l" t="t" r="r" b="b"/>
            <a:pathLst>
              <a:path w="2663168" h="2663168">
                <a:moveTo>
                  <a:pt x="1331584" y="0"/>
                </a:moveTo>
                <a:cubicBezTo>
                  <a:pt x="2066998" y="0"/>
                  <a:pt x="2663168" y="596170"/>
                  <a:pt x="2663168" y="1331584"/>
                </a:cubicBezTo>
                <a:cubicBezTo>
                  <a:pt x="2663168" y="2066998"/>
                  <a:pt x="2066998" y="2663168"/>
                  <a:pt x="1331584" y="2663168"/>
                </a:cubicBezTo>
                <a:cubicBezTo>
                  <a:pt x="596170" y="2663168"/>
                  <a:pt x="0" y="2066998"/>
                  <a:pt x="0" y="1331584"/>
                </a:cubicBezTo>
                <a:cubicBezTo>
                  <a:pt x="0" y="596170"/>
                  <a:pt x="596170" y="0"/>
                  <a:pt x="1331584" y="0"/>
                </a:cubicBezTo>
                <a:close/>
              </a:path>
            </a:pathLst>
          </a:custGeom>
        </p:spPr>
      </p:pic>
      <p:sp>
        <p:nvSpPr>
          <p:cNvPr id="35" name="Freeform: Shape 34">
            <a:extLst>
              <a:ext uri="{FF2B5EF4-FFF2-40B4-BE49-F238E27FC236}">
                <a16:creationId xmlns:a16="http://schemas.microsoft.com/office/drawing/2014/main" id="{2D385988-EAAF-4C27-AF8A-2BFBECAF3D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49602" y="1"/>
            <a:ext cx="2066948" cy="1621879"/>
          </a:xfrm>
          <a:custGeom>
            <a:avLst/>
            <a:gdLst>
              <a:gd name="connsiteX0" fmla="*/ 0 w 2066948"/>
              <a:gd name="connsiteY0" fmla="*/ 0 h 1621879"/>
              <a:gd name="connsiteX1" fmla="*/ 123825 w 2066948"/>
              <a:gd name="connsiteY1" fmla="*/ 0 h 1621879"/>
              <a:gd name="connsiteX2" fmla="*/ 123825 w 2066948"/>
              <a:gd name="connsiteY2" fmla="*/ 1452620 h 1621879"/>
              <a:gd name="connsiteX3" fmla="*/ 1881378 w 2066948"/>
              <a:gd name="connsiteY3" fmla="*/ 436017 h 1621879"/>
              <a:gd name="connsiteX4" fmla="*/ 1127572 w 2066948"/>
              <a:gd name="connsiteY4" fmla="*/ 0 h 1621879"/>
              <a:gd name="connsiteX5" fmla="*/ 1374887 w 2066948"/>
              <a:gd name="connsiteY5" fmla="*/ 0 h 1621879"/>
              <a:gd name="connsiteX6" fmla="*/ 2035969 w 2066948"/>
              <a:gd name="connsiteY6" fmla="*/ 382391 h 1621879"/>
              <a:gd name="connsiteX7" fmla="*/ 2058648 w 2066948"/>
              <a:gd name="connsiteY7" fmla="*/ 466963 h 1621879"/>
              <a:gd name="connsiteX8" fmla="*/ 2035969 w 2066948"/>
              <a:gd name="connsiteY8" fmla="*/ 489642 h 1621879"/>
              <a:gd name="connsiteX9" fmla="*/ 92869 w 2066948"/>
              <a:gd name="connsiteY9" fmla="*/ 1613592 h 1621879"/>
              <a:gd name="connsiteX10" fmla="*/ 61913 w 2066948"/>
              <a:gd name="connsiteY10" fmla="*/ 1621879 h 1621879"/>
              <a:gd name="connsiteX11" fmla="*/ 0 w 2066948"/>
              <a:gd name="connsiteY11" fmla="*/ 1559967 h 16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48" h="1621879">
                <a:moveTo>
                  <a:pt x="0" y="0"/>
                </a:moveTo>
                <a:lnTo>
                  <a:pt x="123825" y="0"/>
                </a:lnTo>
                <a:lnTo>
                  <a:pt x="123825" y="1452620"/>
                </a:lnTo>
                <a:lnTo>
                  <a:pt x="1881378" y="436017"/>
                </a:lnTo>
                <a:lnTo>
                  <a:pt x="1127572" y="0"/>
                </a:lnTo>
                <a:lnTo>
                  <a:pt x="1374887" y="0"/>
                </a:lnTo>
                <a:lnTo>
                  <a:pt x="2035969" y="382391"/>
                </a:lnTo>
                <a:cubicBezTo>
                  <a:pt x="2065582" y="399479"/>
                  <a:pt x="2075745" y="437340"/>
                  <a:pt x="2058648" y="466963"/>
                </a:cubicBezTo>
                <a:cubicBezTo>
                  <a:pt x="2053219" y="476384"/>
                  <a:pt x="2045389" y="484204"/>
                  <a:pt x="2035969" y="489642"/>
                </a:cubicBezTo>
                <a:lnTo>
                  <a:pt x="92869" y="1613592"/>
                </a:lnTo>
                <a:cubicBezTo>
                  <a:pt x="83458" y="1619031"/>
                  <a:pt x="72780" y="1621889"/>
                  <a:pt x="61913" y="1621879"/>
                </a:cubicBezTo>
                <a:cubicBezTo>
                  <a:pt x="27719" y="1621879"/>
                  <a:pt x="0" y="1594161"/>
                  <a:pt x="0" y="1559967"/>
                </a:cubicBezTo>
                <a:close/>
              </a:path>
            </a:pathLst>
          </a:custGeom>
          <a:solidFill>
            <a:schemeClr val="accent6"/>
          </a:solidFill>
          <a:ln w="9525" cap="flat">
            <a:noFill/>
            <a:prstDash val="solid"/>
            <a:miter/>
          </a:ln>
        </p:spPr>
        <p:txBody>
          <a:bodyPr rtlCol="0" anchor="ctr"/>
          <a:lstStyle/>
          <a:p>
            <a:endParaRPr lang="en-US"/>
          </a:p>
        </p:txBody>
      </p:sp>
      <p:cxnSp>
        <p:nvCxnSpPr>
          <p:cNvPr id="37" name="Straight Connector 36">
            <a:extLst>
              <a:ext uri="{FF2B5EF4-FFF2-40B4-BE49-F238E27FC236}">
                <a16:creationId xmlns:a16="http://schemas.microsoft.com/office/drawing/2014/main" id="{43621FD4-D14D-45D5-9A57-9A2DE5EA59C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138745" y="1027906"/>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9" name="Freeform: Shape 38">
            <a:extLst>
              <a:ext uri="{FF2B5EF4-FFF2-40B4-BE49-F238E27FC236}">
                <a16:creationId xmlns:a16="http://schemas.microsoft.com/office/drawing/2014/main" id="{B621D332-7329-4994-8836-C429A51B7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09527" y="6033795"/>
            <a:ext cx="1991064" cy="824205"/>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 name="Freeform: Shape 40">
            <a:extLst>
              <a:ext uri="{FF2B5EF4-FFF2-40B4-BE49-F238E27FC236}">
                <a16:creationId xmlns:a16="http://schemas.microsoft.com/office/drawing/2014/main" id="{2D20F754-35A9-4508-BE3C-C59996D143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51696" y="5519196"/>
            <a:ext cx="1340305" cy="1338805"/>
          </a:xfrm>
          <a:custGeom>
            <a:avLst/>
            <a:gdLst>
              <a:gd name="connsiteX0" fmla="*/ 61913 w 1340305"/>
              <a:gd name="connsiteY0" fmla="*/ 0 h 1338805"/>
              <a:gd name="connsiteX1" fmla="*/ 1340305 w 1340305"/>
              <a:gd name="connsiteY1" fmla="*/ 0 h 1338805"/>
              <a:gd name="connsiteX2" fmla="*/ 1340305 w 1340305"/>
              <a:gd name="connsiteY2" fmla="*/ 123825 h 1338805"/>
              <a:gd name="connsiteX3" fmla="*/ 123825 w 1340305"/>
              <a:gd name="connsiteY3" fmla="*/ 123825 h 1338805"/>
              <a:gd name="connsiteX4" fmla="*/ 123825 w 1340305"/>
              <a:gd name="connsiteY4" fmla="*/ 1338805 h 1338805"/>
              <a:gd name="connsiteX5" fmla="*/ 0 w 1340305"/>
              <a:gd name="connsiteY5" fmla="*/ 1338805 h 1338805"/>
              <a:gd name="connsiteX6" fmla="*/ 0 w 1340305"/>
              <a:gd name="connsiteY6" fmla="*/ 61913 h 1338805"/>
              <a:gd name="connsiteX7" fmla="*/ 61913 w 1340305"/>
              <a:gd name="connsiteY7" fmla="*/ 0 h 133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305" h="1338805">
                <a:moveTo>
                  <a:pt x="61913" y="0"/>
                </a:moveTo>
                <a:lnTo>
                  <a:pt x="1340305" y="0"/>
                </a:lnTo>
                <a:lnTo>
                  <a:pt x="1340305" y="123825"/>
                </a:lnTo>
                <a:lnTo>
                  <a:pt x="123825" y="123825"/>
                </a:lnTo>
                <a:lnTo>
                  <a:pt x="123825" y="1338805"/>
                </a:lnTo>
                <a:lnTo>
                  <a:pt x="0" y="1338805"/>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graphicFrame>
        <p:nvGraphicFramePr>
          <p:cNvPr id="5" name="Content Placeholder 2">
            <a:extLst>
              <a:ext uri="{FF2B5EF4-FFF2-40B4-BE49-F238E27FC236}">
                <a16:creationId xmlns:a16="http://schemas.microsoft.com/office/drawing/2014/main" id="{3F0EF87E-2A33-45CA-A763-16D5C9076727}"/>
              </a:ext>
            </a:extLst>
          </p:cNvPr>
          <p:cNvGraphicFramePr>
            <a:graphicFrameLocks noGrp="1"/>
          </p:cNvGraphicFramePr>
          <p:nvPr>
            <p:ph idx="1"/>
            <p:extLst>
              <p:ext uri="{D42A27DB-BD31-4B8C-83A1-F6EECF244321}">
                <p14:modId xmlns:p14="http://schemas.microsoft.com/office/powerpoint/2010/main" val="2005770590"/>
              </p:ext>
            </p:extLst>
          </p:nvPr>
        </p:nvGraphicFramePr>
        <p:xfrm>
          <a:off x="311422" y="1621880"/>
          <a:ext cx="6445361" cy="4562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5507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28D31E1B-0407-4223-9642-0B642CBF57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062849"/>
            <a:ext cx="731521" cy="673460"/>
            <a:chOff x="3940602" y="308034"/>
            <a:chExt cx="2116791" cy="3428999"/>
          </a:xfrm>
          <a:solidFill>
            <a:schemeClr val="accent4"/>
          </a:solidFill>
        </p:grpSpPr>
        <p:sp>
          <p:nvSpPr>
            <p:cNvPr id="22" name="Rectangle 21">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Rectangle 25">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656150"/>
            <a:ext cx="5672667" cy="143159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B56B445-DC82-47A0-A651-0245BC75F10F}"/>
              </a:ext>
            </a:extLst>
          </p:cNvPr>
          <p:cNvSpPr>
            <a:spLocks noGrp="1"/>
          </p:cNvSpPr>
          <p:nvPr>
            <p:ph type="title"/>
          </p:nvPr>
        </p:nvSpPr>
        <p:spPr>
          <a:xfrm>
            <a:off x="925301" y="884485"/>
            <a:ext cx="5437739" cy="1035781"/>
          </a:xfrm>
        </p:spPr>
        <p:txBody>
          <a:bodyPr anchor="ctr">
            <a:noAutofit/>
          </a:bodyPr>
          <a:lstStyle/>
          <a:p>
            <a:pPr algn="ctr"/>
            <a:r>
              <a:rPr lang="en-US" sz="4000" b="1">
                <a:latin typeface="Calibri Light"/>
                <a:cs typeface="Times New Roman"/>
              </a:rPr>
              <a:t>PROPOSED SOLUTION </a:t>
            </a:r>
            <a:endParaRPr lang="en-US"/>
          </a:p>
        </p:txBody>
      </p:sp>
      <p:sp>
        <p:nvSpPr>
          <p:cNvPr id="3" name="Content Placeholder 2">
            <a:extLst>
              <a:ext uri="{FF2B5EF4-FFF2-40B4-BE49-F238E27FC236}">
                <a16:creationId xmlns:a16="http://schemas.microsoft.com/office/drawing/2014/main" id="{1C6EE388-8A0D-422D-BDEC-9C19A0C23736}"/>
              </a:ext>
            </a:extLst>
          </p:cNvPr>
          <p:cNvSpPr>
            <a:spLocks noGrp="1"/>
          </p:cNvSpPr>
          <p:nvPr>
            <p:ph idx="1"/>
          </p:nvPr>
        </p:nvSpPr>
        <p:spPr>
          <a:xfrm>
            <a:off x="834572" y="2481178"/>
            <a:ext cx="5165801" cy="3677123"/>
          </a:xfrm>
        </p:spPr>
        <p:txBody>
          <a:bodyPr anchor="ctr">
            <a:normAutofit/>
          </a:bodyPr>
          <a:lstStyle/>
          <a:p>
            <a:pPr marL="0" indent="0" algn="just">
              <a:buNone/>
            </a:pPr>
            <a:r>
              <a:rPr lang="en-US" sz="2000" b="0" i="0">
                <a:effectLst/>
                <a:latin typeface="Calibri Light"/>
                <a:cs typeface="Times New Roman"/>
              </a:rPr>
              <a:t>We proposed an implementation of a distributed analytical system on a cloud-based architecture for data processing. This solution is in line with best practices to manage efficiently the processing, storage, and analysis of big data at a lower cost.  </a:t>
            </a:r>
            <a:endParaRPr lang="en-US" sz="2000">
              <a:latin typeface="Calibri Light"/>
              <a:cs typeface="Times New Roman"/>
            </a:endParaRPr>
          </a:p>
        </p:txBody>
      </p:sp>
      <p:sp>
        <p:nvSpPr>
          <p:cNvPr id="28" name="Rectangle 27">
            <a:extLst>
              <a:ext uri="{FF2B5EF4-FFF2-40B4-BE49-F238E27FC236}">
                <a16:creationId xmlns:a16="http://schemas.microsoft.com/office/drawing/2014/main" id="{70E96339-907C-46C3-99AC-31179B6F0E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16299" y="608401"/>
            <a:ext cx="4637502" cy="5593443"/>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Cloud Computing">
            <a:extLst>
              <a:ext uri="{FF2B5EF4-FFF2-40B4-BE49-F238E27FC236}">
                <a16:creationId xmlns:a16="http://schemas.microsoft.com/office/drawing/2014/main" id="{DA9ACE9B-429A-49A2-A843-86028FA138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30493" y="1347516"/>
            <a:ext cx="4223252" cy="4223252"/>
          </a:xfrm>
          <a:prstGeom prst="rect">
            <a:avLst/>
          </a:prstGeom>
        </p:spPr>
      </p:pic>
      <p:cxnSp>
        <p:nvCxnSpPr>
          <p:cNvPr id="30" name="Straight Connector 29">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92240"/>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0735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id="{201CC55D-ED54-4C5C-95E6-10947BD110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CEFC1D-695E-4CCE-B3F0-847390E14E19}"/>
              </a:ext>
            </a:extLst>
          </p:cNvPr>
          <p:cNvSpPr>
            <a:spLocks noGrp="1"/>
          </p:cNvSpPr>
          <p:nvPr>
            <p:ph type="title"/>
          </p:nvPr>
        </p:nvSpPr>
        <p:spPr>
          <a:xfrm>
            <a:off x="1535107" y="856180"/>
            <a:ext cx="3615037" cy="1128068"/>
          </a:xfrm>
        </p:spPr>
        <p:txBody>
          <a:bodyPr anchor="ctr">
            <a:normAutofit fontScale="90000"/>
          </a:bodyPr>
          <a:lstStyle/>
          <a:p>
            <a:r>
              <a:rPr lang="en-US" b="1">
                <a:latin typeface="Calibri Light"/>
                <a:cs typeface="Times New Roman"/>
              </a:rPr>
              <a:t>DELIVERABLES</a:t>
            </a:r>
            <a:r>
              <a:rPr lang="en-US">
                <a:latin typeface="Calibri Light"/>
                <a:cs typeface="Times New Roman"/>
              </a:rPr>
              <a:t> 	</a:t>
            </a:r>
          </a:p>
        </p:txBody>
      </p:sp>
      <p:grpSp>
        <p:nvGrpSpPr>
          <p:cNvPr id="48" name="Group 47">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49" name="Rectangle 48">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2" name="Rectangle 51">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090569"/>
            <a:ext cx="429768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4DC4502-8A92-4B62-96E3-18FE400C4C5F}"/>
              </a:ext>
            </a:extLst>
          </p:cNvPr>
          <p:cNvSpPr>
            <a:spLocks noGrp="1"/>
          </p:cNvSpPr>
          <p:nvPr>
            <p:ph idx="1"/>
          </p:nvPr>
        </p:nvSpPr>
        <p:spPr>
          <a:xfrm>
            <a:off x="590719" y="2330505"/>
            <a:ext cx="4559425" cy="3979585"/>
          </a:xfrm>
        </p:spPr>
        <p:txBody>
          <a:bodyPr anchor="ctr">
            <a:normAutofit/>
          </a:bodyPr>
          <a:lstStyle/>
          <a:p>
            <a:pPr marL="0" indent="0" rtl="0" fontAlgn="base">
              <a:buNone/>
            </a:pPr>
            <a:endParaRPr lang="en-US" sz="2000" b="0" i="0">
              <a:effectLst/>
              <a:latin typeface="Times New Roman" panose="02020603050405020304" pitchFamily="18" charset="0"/>
              <a:cs typeface="Times New Roman" panose="02020603050405020304" pitchFamily="18" charset="0"/>
            </a:endParaRPr>
          </a:p>
          <a:p>
            <a:pPr rtl="0" fontAlgn="base">
              <a:buFont typeface="Arial" panose="020B0604020202020204" pitchFamily="34" charset="0"/>
              <a:buChar char="•"/>
            </a:pPr>
            <a:r>
              <a:rPr lang="en-US" sz="2000" b="0" i="0">
                <a:effectLst/>
                <a:latin typeface="Calibri Light"/>
                <a:cs typeface="Times New Roman"/>
              </a:rPr>
              <a:t>Customize and implement an Apache Spark analytical processing engine for big data. </a:t>
            </a:r>
          </a:p>
          <a:p>
            <a:pPr rtl="0" fontAlgn="base">
              <a:buFont typeface="Arial" panose="020B0604020202020204" pitchFamily="34" charset="0"/>
              <a:buChar char="•"/>
            </a:pPr>
            <a:r>
              <a:rPr lang="en-US" sz="2000" b="0" i="0">
                <a:effectLst/>
                <a:latin typeface="Calibri Light"/>
                <a:cs typeface="Times New Roman"/>
              </a:rPr>
              <a:t>Implement a Hadoop distributed file system (HDFS), which makes it easy to plug in distributed analytics applications. </a:t>
            </a:r>
          </a:p>
          <a:p>
            <a:pPr rtl="0" fontAlgn="base">
              <a:buFont typeface="Arial" panose="020B0604020202020204" pitchFamily="34" charset="0"/>
              <a:buChar char="•"/>
            </a:pPr>
            <a:r>
              <a:rPr lang="en-US" sz="2000" b="0" i="0">
                <a:effectLst/>
                <a:latin typeface="Calibri Light"/>
                <a:cs typeface="Times New Roman"/>
              </a:rPr>
              <a:t>Construct cloud tools for implementing solutions on AWS Elastic Computing instances. </a:t>
            </a:r>
          </a:p>
          <a:p>
            <a:endParaRPr lang="en-US" sz="2000">
              <a:latin typeface="Times New Roman" panose="02020603050405020304" pitchFamily="18" charset="0"/>
              <a:cs typeface="Times New Roman" panose="02020603050405020304" pitchFamily="18" charset="0"/>
            </a:endParaRPr>
          </a:p>
        </p:txBody>
      </p:sp>
      <p:sp>
        <p:nvSpPr>
          <p:cNvPr id="54" name="Rectangle 53">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513853"/>
            <a:ext cx="6009366" cy="583457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3B3770DE-DB33-451B-8B3A-2C0DB0DBB074}"/>
              </a:ext>
            </a:extLst>
          </p:cNvPr>
          <p:cNvPicPr>
            <a:picLocks noChangeAspect="1"/>
          </p:cNvPicPr>
          <p:nvPr/>
        </p:nvPicPr>
        <p:blipFill rotWithShape="1">
          <a:blip r:embed="rId2"/>
          <a:srcRect l="22631"/>
          <a:stretch/>
        </p:blipFill>
        <p:spPr>
          <a:xfrm>
            <a:off x="5977788" y="799352"/>
            <a:ext cx="5425410" cy="5259296"/>
          </a:xfrm>
          <a:prstGeom prst="rect">
            <a:avLst/>
          </a:prstGeom>
        </p:spPr>
      </p:pic>
    </p:spTree>
    <p:extLst>
      <p:ext uri="{BB962C8B-B14F-4D97-AF65-F5344CB8AC3E}">
        <p14:creationId xmlns:p14="http://schemas.microsoft.com/office/powerpoint/2010/main" val="2266807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716928-8AC8-4E6C-A9C4-E7C3C37744F4}"/>
              </a:ext>
            </a:extLst>
          </p:cNvPr>
          <p:cNvSpPr>
            <a:spLocks noGrp="1"/>
          </p:cNvSpPr>
          <p:nvPr>
            <p:ph type="title"/>
          </p:nvPr>
        </p:nvSpPr>
        <p:spPr>
          <a:xfrm>
            <a:off x="556532" y="818521"/>
            <a:ext cx="11210925" cy="744836"/>
          </a:xfrm>
          <a:ln w="28575">
            <a:noFill/>
          </a:ln>
        </p:spPr>
        <p:txBody>
          <a:bodyPr vert="horz" lIns="91440" tIns="45720" rIns="91440" bIns="45720" rtlCol="0" anchor="ctr">
            <a:normAutofit/>
          </a:bodyPr>
          <a:lstStyle/>
          <a:p>
            <a:pPr algn="ctr"/>
            <a:r>
              <a:rPr lang="en-US" sz="3600" b="1">
                <a:solidFill>
                  <a:schemeClr val="bg1"/>
                </a:solidFill>
                <a:latin typeface="Calibri Light"/>
                <a:cs typeface="Calibri"/>
              </a:rPr>
              <a:t>FRAMEWORK: PROJECT CYCLE</a:t>
            </a:r>
            <a:endParaRPr lang="en-US" sz="3600" b="1">
              <a:solidFill>
                <a:schemeClr val="bg1"/>
              </a:solidFill>
              <a:latin typeface="Calibri Light"/>
              <a:ea typeface="+mj-lt"/>
              <a:cs typeface="Calibri"/>
            </a:endParaRPr>
          </a:p>
          <a:p>
            <a:pPr algn="ctr"/>
            <a:endParaRPr lang="en-US" sz="3200" b="1" kern="1200">
              <a:solidFill>
                <a:schemeClr val="bg1"/>
              </a:solidFill>
              <a:latin typeface="Calibri"/>
              <a:cs typeface="Calibri"/>
            </a:endParaRPr>
          </a:p>
        </p:txBody>
      </p:sp>
      <p:grpSp>
        <p:nvGrpSpPr>
          <p:cNvPr id="6" name="Group 5">
            <a:extLst>
              <a:ext uri="{FF2B5EF4-FFF2-40B4-BE49-F238E27FC236}">
                <a16:creationId xmlns:a16="http://schemas.microsoft.com/office/drawing/2014/main" id="{25228140-6CE9-4182-B36F-DEA361C6AFA5}"/>
              </a:ext>
            </a:extLst>
          </p:cNvPr>
          <p:cNvGrpSpPr>
            <a:grpSpLocks/>
          </p:cNvGrpSpPr>
          <p:nvPr/>
        </p:nvGrpSpPr>
        <p:grpSpPr bwMode="auto">
          <a:xfrm>
            <a:off x="1696333" y="1804069"/>
            <a:ext cx="8305804" cy="694248"/>
            <a:chOff x="1830198" y="1371583"/>
            <a:chExt cx="5232" cy="288"/>
          </a:xfrm>
        </p:grpSpPr>
        <p:sp>
          <p:nvSpPr>
            <p:cNvPr id="33" name="Text Box 4">
              <a:extLst>
                <a:ext uri="{FF2B5EF4-FFF2-40B4-BE49-F238E27FC236}">
                  <a16:creationId xmlns:a16="http://schemas.microsoft.com/office/drawing/2014/main" id="{76E3424D-2C38-4A21-B0FC-E8EE954CDF1C}"/>
                </a:ext>
              </a:extLst>
            </p:cNvPr>
            <p:cNvSpPr txBox="1">
              <a:spLocks noChangeArrowheads="1"/>
            </p:cNvSpPr>
            <p:nvPr/>
          </p:nvSpPr>
          <p:spPr bwMode="auto">
            <a:xfrm>
              <a:off x="1830198" y="1371583"/>
              <a:ext cx="851" cy="153"/>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b="1">
                  <a:latin typeface="Calibri Light"/>
                  <a:cs typeface="Times New Roman"/>
                </a:rPr>
                <a:t>Project ideas</a:t>
              </a:r>
            </a:p>
          </p:txBody>
        </p:sp>
        <p:sp>
          <p:nvSpPr>
            <p:cNvPr id="34" name="Text Box 5">
              <a:extLst>
                <a:ext uri="{FF2B5EF4-FFF2-40B4-BE49-F238E27FC236}">
                  <a16:creationId xmlns:a16="http://schemas.microsoft.com/office/drawing/2014/main" id="{A6D76CB7-E1AB-4679-96ED-8256494F6D85}"/>
                </a:ext>
              </a:extLst>
            </p:cNvPr>
            <p:cNvSpPr txBox="1">
              <a:spLocks noChangeArrowheads="1"/>
            </p:cNvSpPr>
            <p:nvPr/>
          </p:nvSpPr>
          <p:spPr bwMode="auto">
            <a:xfrm>
              <a:off x="1831350" y="1371583"/>
              <a:ext cx="1048" cy="153"/>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b="1">
                  <a:latin typeface="Calibri Light"/>
                  <a:cs typeface="Times New Roman"/>
                </a:rPr>
                <a:t>Project Proposal</a:t>
              </a:r>
            </a:p>
          </p:txBody>
        </p:sp>
        <p:sp>
          <p:nvSpPr>
            <p:cNvPr id="35" name="Text Box 6">
              <a:extLst>
                <a:ext uri="{FF2B5EF4-FFF2-40B4-BE49-F238E27FC236}">
                  <a16:creationId xmlns:a16="http://schemas.microsoft.com/office/drawing/2014/main" id="{28F24681-2FC8-49D7-B7DC-B344A56A41CF}"/>
                </a:ext>
              </a:extLst>
            </p:cNvPr>
            <p:cNvSpPr txBox="1">
              <a:spLocks noChangeArrowheads="1"/>
            </p:cNvSpPr>
            <p:nvPr/>
          </p:nvSpPr>
          <p:spPr bwMode="auto">
            <a:xfrm>
              <a:off x="1833942" y="1371583"/>
              <a:ext cx="1181" cy="153"/>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b="1">
                  <a:latin typeface="Calibri Light"/>
                  <a:cs typeface="Times New Roman"/>
                </a:rPr>
                <a:t>Project Completed</a:t>
              </a:r>
            </a:p>
          </p:txBody>
        </p:sp>
        <p:sp>
          <p:nvSpPr>
            <p:cNvPr id="36" name="Line 7">
              <a:extLst>
                <a:ext uri="{FF2B5EF4-FFF2-40B4-BE49-F238E27FC236}">
                  <a16:creationId xmlns:a16="http://schemas.microsoft.com/office/drawing/2014/main" id="{C997E094-08B2-470B-8D5F-8D9ED3C1C5A2}"/>
                </a:ext>
              </a:extLst>
            </p:cNvPr>
            <p:cNvSpPr>
              <a:spLocks noChangeShapeType="1"/>
            </p:cNvSpPr>
            <p:nvPr/>
          </p:nvSpPr>
          <p:spPr bwMode="auto">
            <a:xfrm>
              <a:off x="1830390" y="1371871"/>
              <a:ext cx="504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grpSp>
      <p:grpSp>
        <p:nvGrpSpPr>
          <p:cNvPr id="7" name="Group 6">
            <a:extLst>
              <a:ext uri="{FF2B5EF4-FFF2-40B4-BE49-F238E27FC236}">
                <a16:creationId xmlns:a16="http://schemas.microsoft.com/office/drawing/2014/main" id="{647BE741-BA63-4A50-BAD0-68417343154A}"/>
              </a:ext>
            </a:extLst>
          </p:cNvPr>
          <p:cNvGrpSpPr>
            <a:grpSpLocks/>
          </p:cNvGrpSpPr>
          <p:nvPr/>
        </p:nvGrpSpPr>
        <p:grpSpPr bwMode="auto">
          <a:xfrm>
            <a:off x="1397017" y="2675457"/>
            <a:ext cx="9099930" cy="3924734"/>
            <a:chOff x="1520456" y="2232677"/>
            <a:chExt cx="4998" cy="2154"/>
          </a:xfrm>
        </p:grpSpPr>
        <p:sp>
          <p:nvSpPr>
            <p:cNvPr id="8" name="Text Box 8">
              <a:extLst>
                <a:ext uri="{FF2B5EF4-FFF2-40B4-BE49-F238E27FC236}">
                  <a16:creationId xmlns:a16="http://schemas.microsoft.com/office/drawing/2014/main" id="{F768D4EE-6859-473E-9A2E-4801ECAAE6F6}"/>
                </a:ext>
              </a:extLst>
            </p:cNvPr>
            <p:cNvSpPr txBox="1">
              <a:spLocks noChangeArrowheads="1"/>
            </p:cNvSpPr>
            <p:nvPr/>
          </p:nvSpPr>
          <p:spPr bwMode="auto">
            <a:xfrm>
              <a:off x="1520648" y="2232677"/>
              <a:ext cx="565" cy="220"/>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sz="2000" b="1">
                  <a:latin typeface="Calibri Light"/>
                  <a:cs typeface="Times New Roman"/>
                </a:rPr>
                <a:t>Concept</a:t>
              </a:r>
            </a:p>
          </p:txBody>
        </p:sp>
        <p:sp>
          <p:nvSpPr>
            <p:cNvPr id="9" name="Text Box 9">
              <a:extLst>
                <a:ext uri="{FF2B5EF4-FFF2-40B4-BE49-F238E27FC236}">
                  <a16:creationId xmlns:a16="http://schemas.microsoft.com/office/drawing/2014/main" id="{2B99ECC4-BBD8-403F-B2DF-95E4C36332A5}"/>
                </a:ext>
              </a:extLst>
            </p:cNvPr>
            <p:cNvSpPr txBox="1">
              <a:spLocks noChangeArrowheads="1"/>
            </p:cNvSpPr>
            <p:nvPr/>
          </p:nvSpPr>
          <p:spPr bwMode="auto">
            <a:xfrm>
              <a:off x="1521704" y="2232965"/>
              <a:ext cx="901" cy="389"/>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sz="2000" b="1">
                  <a:latin typeface="Calibri Light"/>
                  <a:cs typeface="Times New Roman"/>
                </a:rPr>
                <a:t>System Design</a:t>
              </a:r>
            </a:p>
            <a:p>
              <a:r>
                <a:rPr lang="en-US" altLang="en-US" sz="2000" b="1">
                  <a:latin typeface="Calibri Light"/>
                  <a:cs typeface="Times New Roman"/>
                </a:rPr>
                <a:t>(Architecture)</a:t>
              </a:r>
            </a:p>
          </p:txBody>
        </p:sp>
        <p:sp>
          <p:nvSpPr>
            <p:cNvPr id="10" name="Text Box 10">
              <a:extLst>
                <a:ext uri="{FF2B5EF4-FFF2-40B4-BE49-F238E27FC236}">
                  <a16:creationId xmlns:a16="http://schemas.microsoft.com/office/drawing/2014/main" id="{AEE5A155-942D-447B-8959-C89054653827}"/>
                </a:ext>
              </a:extLst>
            </p:cNvPr>
            <p:cNvSpPr txBox="1">
              <a:spLocks noChangeArrowheads="1"/>
            </p:cNvSpPr>
            <p:nvPr/>
          </p:nvSpPr>
          <p:spPr bwMode="auto">
            <a:xfrm>
              <a:off x="1523096" y="2233301"/>
              <a:ext cx="1009" cy="389"/>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sz="2000" b="1">
                  <a:latin typeface="Calibri Light"/>
                  <a:cs typeface="Times New Roman"/>
                </a:rPr>
                <a:t>Detailed design/</a:t>
              </a:r>
            </a:p>
            <a:p>
              <a:r>
                <a:rPr lang="en-US" altLang="en-US" sz="2000" b="1">
                  <a:latin typeface="Calibri Light"/>
                  <a:cs typeface="Times New Roman"/>
                </a:rPr>
                <a:t>Implementation</a:t>
              </a:r>
            </a:p>
          </p:txBody>
        </p:sp>
        <p:sp>
          <p:nvSpPr>
            <p:cNvPr id="11" name="Text Box 11">
              <a:extLst>
                <a:ext uri="{FF2B5EF4-FFF2-40B4-BE49-F238E27FC236}">
                  <a16:creationId xmlns:a16="http://schemas.microsoft.com/office/drawing/2014/main" id="{53656BA9-C099-4DBD-B376-8A9388436F7B}"/>
                </a:ext>
              </a:extLst>
            </p:cNvPr>
            <p:cNvSpPr txBox="1">
              <a:spLocks noChangeArrowheads="1"/>
            </p:cNvSpPr>
            <p:nvPr/>
          </p:nvSpPr>
          <p:spPr bwMode="auto">
            <a:xfrm>
              <a:off x="1524488" y="2233781"/>
              <a:ext cx="966" cy="389"/>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en-US" sz="2000" b="1">
                  <a:latin typeface="Calibri Light"/>
                  <a:cs typeface="Times New Roman"/>
                </a:rPr>
                <a:t>Demo/test/</a:t>
              </a:r>
            </a:p>
            <a:p>
              <a:r>
                <a:rPr lang="en-US" altLang="en-US" sz="2000" b="1">
                  <a:latin typeface="Calibri Light"/>
                  <a:cs typeface="Times New Roman"/>
                </a:rPr>
                <a:t>Documentation</a:t>
              </a:r>
            </a:p>
          </p:txBody>
        </p:sp>
        <p:grpSp>
          <p:nvGrpSpPr>
            <p:cNvPr id="12" name="Group 11">
              <a:extLst>
                <a:ext uri="{FF2B5EF4-FFF2-40B4-BE49-F238E27FC236}">
                  <a16:creationId xmlns:a16="http://schemas.microsoft.com/office/drawing/2014/main" id="{3A72F57B-B3D4-4211-8E8C-32B29374C391}"/>
                </a:ext>
              </a:extLst>
            </p:cNvPr>
            <p:cNvGrpSpPr>
              <a:grpSpLocks/>
            </p:cNvGrpSpPr>
            <p:nvPr/>
          </p:nvGrpSpPr>
          <p:grpSpPr bwMode="auto">
            <a:xfrm>
              <a:off x="1521320" y="2232821"/>
              <a:ext cx="768" cy="192"/>
              <a:chOff x="1521320" y="2232821"/>
              <a:chExt cx="768" cy="192"/>
            </a:xfrm>
          </p:grpSpPr>
          <p:sp>
            <p:nvSpPr>
              <p:cNvPr id="29" name="Line 13">
                <a:extLst>
                  <a:ext uri="{FF2B5EF4-FFF2-40B4-BE49-F238E27FC236}">
                    <a16:creationId xmlns:a16="http://schemas.microsoft.com/office/drawing/2014/main" id="{0FE4E702-E19A-4B76-9DDC-E2B8EE245C15}"/>
                  </a:ext>
                </a:extLst>
              </p:cNvPr>
              <p:cNvSpPr>
                <a:spLocks noChangeShapeType="1"/>
              </p:cNvSpPr>
              <p:nvPr/>
            </p:nvSpPr>
            <p:spPr bwMode="auto">
              <a:xfrm>
                <a:off x="1521320" y="2232821"/>
                <a:ext cx="768"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sp>
            <p:nvSpPr>
              <p:cNvPr id="30" name="Line 14">
                <a:extLst>
                  <a:ext uri="{FF2B5EF4-FFF2-40B4-BE49-F238E27FC236}">
                    <a16:creationId xmlns:a16="http://schemas.microsoft.com/office/drawing/2014/main" id="{5DD07601-5590-4845-9A06-CC28918DDB6F}"/>
                  </a:ext>
                </a:extLst>
              </p:cNvPr>
              <p:cNvSpPr>
                <a:spLocks noChangeShapeType="1"/>
              </p:cNvSpPr>
              <p:nvPr/>
            </p:nvSpPr>
            <p:spPr bwMode="auto">
              <a:xfrm>
                <a:off x="1522088" y="2232821"/>
                <a:ext cx="0" cy="192"/>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grpSp>
        <p:grpSp>
          <p:nvGrpSpPr>
            <p:cNvPr id="13" name="Group 12">
              <a:extLst>
                <a:ext uri="{FF2B5EF4-FFF2-40B4-BE49-F238E27FC236}">
                  <a16:creationId xmlns:a16="http://schemas.microsoft.com/office/drawing/2014/main" id="{9ECCCE5B-43C4-4588-8EDB-3EA3E9C12C69}"/>
                </a:ext>
              </a:extLst>
            </p:cNvPr>
            <p:cNvGrpSpPr>
              <a:grpSpLocks/>
            </p:cNvGrpSpPr>
            <p:nvPr/>
          </p:nvGrpSpPr>
          <p:grpSpPr bwMode="auto">
            <a:xfrm>
              <a:off x="1522808" y="2233109"/>
              <a:ext cx="768" cy="192"/>
              <a:chOff x="1522808" y="2233109"/>
              <a:chExt cx="768" cy="192"/>
            </a:xfrm>
          </p:grpSpPr>
          <p:sp>
            <p:nvSpPr>
              <p:cNvPr id="27" name="Line 17">
                <a:extLst>
                  <a:ext uri="{FF2B5EF4-FFF2-40B4-BE49-F238E27FC236}">
                    <a16:creationId xmlns:a16="http://schemas.microsoft.com/office/drawing/2014/main" id="{17229C0C-231F-4BF5-9347-5013ED98F836}"/>
                  </a:ext>
                </a:extLst>
              </p:cNvPr>
              <p:cNvSpPr>
                <a:spLocks noChangeShapeType="1"/>
              </p:cNvSpPr>
              <p:nvPr/>
            </p:nvSpPr>
            <p:spPr bwMode="auto">
              <a:xfrm>
                <a:off x="1522808" y="2233109"/>
                <a:ext cx="768"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sp>
            <p:nvSpPr>
              <p:cNvPr id="28" name="Line 18">
                <a:extLst>
                  <a:ext uri="{FF2B5EF4-FFF2-40B4-BE49-F238E27FC236}">
                    <a16:creationId xmlns:a16="http://schemas.microsoft.com/office/drawing/2014/main" id="{D20CC307-0BBB-4881-923F-074420BAF5E2}"/>
                  </a:ext>
                </a:extLst>
              </p:cNvPr>
              <p:cNvSpPr>
                <a:spLocks noChangeShapeType="1"/>
              </p:cNvSpPr>
              <p:nvPr/>
            </p:nvSpPr>
            <p:spPr bwMode="auto">
              <a:xfrm>
                <a:off x="1523576" y="2233109"/>
                <a:ext cx="0" cy="192"/>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grpSp>
        <p:grpSp>
          <p:nvGrpSpPr>
            <p:cNvPr id="14" name="Group 13">
              <a:extLst>
                <a:ext uri="{FF2B5EF4-FFF2-40B4-BE49-F238E27FC236}">
                  <a16:creationId xmlns:a16="http://schemas.microsoft.com/office/drawing/2014/main" id="{2D59FCC8-A77A-41E7-89F3-414A7DC75116}"/>
                </a:ext>
              </a:extLst>
            </p:cNvPr>
            <p:cNvGrpSpPr>
              <a:grpSpLocks/>
            </p:cNvGrpSpPr>
            <p:nvPr/>
          </p:nvGrpSpPr>
          <p:grpSpPr bwMode="auto">
            <a:xfrm>
              <a:off x="1524248" y="2233589"/>
              <a:ext cx="768" cy="192"/>
              <a:chOff x="1524248" y="2233589"/>
              <a:chExt cx="768" cy="192"/>
            </a:xfrm>
          </p:grpSpPr>
          <p:sp>
            <p:nvSpPr>
              <p:cNvPr id="25" name="Line 20">
                <a:extLst>
                  <a:ext uri="{FF2B5EF4-FFF2-40B4-BE49-F238E27FC236}">
                    <a16:creationId xmlns:a16="http://schemas.microsoft.com/office/drawing/2014/main" id="{A2279784-F206-458D-9CC8-B35BBBA000E6}"/>
                  </a:ext>
                </a:extLst>
              </p:cNvPr>
              <p:cNvSpPr>
                <a:spLocks noChangeShapeType="1"/>
              </p:cNvSpPr>
              <p:nvPr/>
            </p:nvSpPr>
            <p:spPr bwMode="auto">
              <a:xfrm>
                <a:off x="1524248" y="2233589"/>
                <a:ext cx="768"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sp>
            <p:nvSpPr>
              <p:cNvPr id="26" name="Line 21">
                <a:extLst>
                  <a:ext uri="{FF2B5EF4-FFF2-40B4-BE49-F238E27FC236}">
                    <a16:creationId xmlns:a16="http://schemas.microsoft.com/office/drawing/2014/main" id="{8ACD7B83-3267-45C0-820B-FB42CD7F517A}"/>
                  </a:ext>
                </a:extLst>
              </p:cNvPr>
              <p:cNvSpPr>
                <a:spLocks noChangeShapeType="1"/>
              </p:cNvSpPr>
              <p:nvPr/>
            </p:nvSpPr>
            <p:spPr bwMode="auto">
              <a:xfrm>
                <a:off x="1525016" y="2233589"/>
                <a:ext cx="0" cy="192"/>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grpSp>
        <p:sp>
          <p:nvSpPr>
            <p:cNvPr id="15" name="Text Box 22">
              <a:extLst>
                <a:ext uri="{FF2B5EF4-FFF2-40B4-BE49-F238E27FC236}">
                  <a16:creationId xmlns:a16="http://schemas.microsoft.com/office/drawing/2014/main" id="{FBE5F202-98B3-42BF-9AE6-7AE596DDED5B}"/>
                </a:ext>
              </a:extLst>
            </p:cNvPr>
            <p:cNvSpPr txBox="1">
              <a:spLocks noChangeArrowheads="1"/>
            </p:cNvSpPr>
            <p:nvPr/>
          </p:nvSpPr>
          <p:spPr bwMode="auto">
            <a:xfrm>
              <a:off x="1520456" y="2233301"/>
              <a:ext cx="943" cy="456"/>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Tx/>
                <a:buChar char="•"/>
              </a:pPr>
              <a:r>
                <a:rPr lang="en-US" altLang="en-US" sz="1600" b="1">
                  <a:latin typeface="Calibri Light"/>
                  <a:cs typeface="Times New Roman"/>
                </a:rPr>
                <a:t> Tech. Foundation</a:t>
              </a:r>
            </a:p>
            <a:p>
              <a:pPr>
                <a:buFontTx/>
                <a:buChar char="•"/>
              </a:pPr>
              <a:r>
                <a:rPr lang="en-US" altLang="en-US" sz="1600" b="1">
                  <a:latin typeface="Calibri Light"/>
                  <a:cs typeface="Times New Roman"/>
                </a:rPr>
                <a:t> Capabilities</a:t>
              </a:r>
            </a:p>
            <a:p>
              <a:pPr>
                <a:buFontTx/>
                <a:buChar char="•"/>
              </a:pPr>
              <a:r>
                <a:rPr lang="en-US" altLang="en-US" sz="1600" b="1">
                  <a:latin typeface="Calibri Light"/>
                  <a:cs typeface="Times New Roman"/>
                </a:rPr>
                <a:t> Goal</a:t>
              </a:r>
            </a:p>
          </p:txBody>
        </p:sp>
        <p:sp>
          <p:nvSpPr>
            <p:cNvPr id="16" name="Line 23">
              <a:extLst>
                <a:ext uri="{FF2B5EF4-FFF2-40B4-BE49-F238E27FC236}">
                  <a16:creationId xmlns:a16="http://schemas.microsoft.com/office/drawing/2014/main" id="{8D17A431-982A-490B-A63D-FA4CCC2D17CD}"/>
                </a:ext>
              </a:extLst>
            </p:cNvPr>
            <p:cNvSpPr>
              <a:spLocks noChangeShapeType="1"/>
            </p:cNvSpPr>
            <p:nvPr/>
          </p:nvSpPr>
          <p:spPr bwMode="auto">
            <a:xfrm flipV="1">
              <a:off x="1520888" y="2232917"/>
              <a:ext cx="96" cy="384"/>
            </a:xfrm>
            <a:prstGeom prst="line">
              <a:avLst/>
            </a:prstGeom>
            <a:noFill/>
            <a:ln w="28575">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sp>
          <p:nvSpPr>
            <p:cNvPr id="17" name="Text Box 24">
              <a:extLst>
                <a:ext uri="{FF2B5EF4-FFF2-40B4-BE49-F238E27FC236}">
                  <a16:creationId xmlns:a16="http://schemas.microsoft.com/office/drawing/2014/main" id="{656973A2-EEA3-44F8-B299-0BCAEA6D4F58}"/>
                </a:ext>
              </a:extLst>
            </p:cNvPr>
            <p:cNvSpPr txBox="1">
              <a:spLocks noChangeArrowheads="1"/>
            </p:cNvSpPr>
            <p:nvPr/>
          </p:nvSpPr>
          <p:spPr bwMode="auto">
            <a:xfrm>
              <a:off x="1521560" y="2233877"/>
              <a:ext cx="936" cy="591"/>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Tx/>
                <a:buChar char="•"/>
              </a:pPr>
              <a:r>
                <a:rPr lang="en-US" altLang="en-US" sz="1600" b="1">
                  <a:latin typeface="Times New Roman"/>
                  <a:cs typeface="Times New Roman"/>
                </a:rPr>
                <a:t> </a:t>
              </a:r>
              <a:r>
                <a:rPr lang="en-US" altLang="en-US" sz="1600" b="1">
                  <a:latin typeface="Calibri Light"/>
                  <a:cs typeface="Times New Roman"/>
                </a:rPr>
                <a:t>Systems analysis/</a:t>
              </a:r>
            </a:p>
            <a:p>
              <a:r>
                <a:rPr lang="en-US" altLang="en-US" sz="1600" b="1">
                  <a:latin typeface="Calibri Light"/>
                  <a:cs typeface="Times New Roman"/>
                </a:rPr>
                <a:t>Synthesis</a:t>
              </a:r>
            </a:p>
            <a:p>
              <a:pPr>
                <a:buFontTx/>
                <a:buChar char="•"/>
              </a:pPr>
              <a:r>
                <a:rPr lang="en-US" altLang="en-US" sz="1600" b="1">
                  <a:latin typeface="Calibri Light"/>
                  <a:cs typeface="Times New Roman"/>
                </a:rPr>
                <a:t> Project planning</a:t>
              </a:r>
            </a:p>
            <a:p>
              <a:pPr>
                <a:buFontTx/>
                <a:buChar char="•"/>
              </a:pPr>
              <a:r>
                <a:rPr lang="en-US" altLang="en-US" sz="1600" b="1">
                  <a:latin typeface="Calibri Light"/>
                  <a:cs typeface="Times New Roman"/>
                </a:rPr>
                <a:t> Thesis proposal</a:t>
              </a:r>
            </a:p>
          </p:txBody>
        </p:sp>
        <p:sp>
          <p:nvSpPr>
            <p:cNvPr id="18" name="Line 25">
              <a:extLst>
                <a:ext uri="{FF2B5EF4-FFF2-40B4-BE49-F238E27FC236}">
                  <a16:creationId xmlns:a16="http://schemas.microsoft.com/office/drawing/2014/main" id="{5EAFB1D3-C502-44E4-A415-6D73CFEAB4D6}"/>
                </a:ext>
              </a:extLst>
            </p:cNvPr>
            <p:cNvSpPr>
              <a:spLocks noChangeShapeType="1"/>
            </p:cNvSpPr>
            <p:nvPr/>
          </p:nvSpPr>
          <p:spPr bwMode="auto">
            <a:xfrm flipV="1">
              <a:off x="1521896" y="2233445"/>
              <a:ext cx="192" cy="480"/>
            </a:xfrm>
            <a:prstGeom prst="line">
              <a:avLst/>
            </a:prstGeom>
            <a:noFill/>
            <a:ln w="28575">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sp>
          <p:nvSpPr>
            <p:cNvPr id="19" name="Oval 18">
              <a:extLst>
                <a:ext uri="{FF2B5EF4-FFF2-40B4-BE49-F238E27FC236}">
                  <a16:creationId xmlns:a16="http://schemas.microsoft.com/office/drawing/2014/main" id="{2D59025E-726D-462A-9073-993F761063A2}"/>
                </a:ext>
              </a:extLst>
            </p:cNvPr>
            <p:cNvSpPr>
              <a:spLocks noChangeArrowheads="1"/>
            </p:cNvSpPr>
            <p:nvPr/>
          </p:nvSpPr>
          <p:spPr bwMode="auto">
            <a:xfrm>
              <a:off x="1524920" y="2233493"/>
              <a:ext cx="192" cy="192"/>
            </a:xfrm>
            <a:prstGeom prst="ellipse">
              <a:avLst/>
            </a:prstGeom>
            <a:solidFill>
              <a:schemeClr val="accent1"/>
            </a:solid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sp>
          <p:nvSpPr>
            <p:cNvPr id="20" name="Line 27">
              <a:extLst>
                <a:ext uri="{FF2B5EF4-FFF2-40B4-BE49-F238E27FC236}">
                  <a16:creationId xmlns:a16="http://schemas.microsoft.com/office/drawing/2014/main" id="{6EBC289F-7D67-473E-BB9B-CA0529D677B7}"/>
                </a:ext>
              </a:extLst>
            </p:cNvPr>
            <p:cNvSpPr>
              <a:spLocks noChangeShapeType="1"/>
            </p:cNvSpPr>
            <p:nvPr/>
          </p:nvSpPr>
          <p:spPr bwMode="auto">
            <a:xfrm flipV="1">
              <a:off x="1521080" y="2233205"/>
              <a:ext cx="576" cy="96"/>
            </a:xfrm>
            <a:prstGeom prst="line">
              <a:avLst/>
            </a:prstGeom>
            <a:noFill/>
            <a:ln w="28575">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sp>
          <p:nvSpPr>
            <p:cNvPr id="21" name="Text Box 28">
              <a:extLst>
                <a:ext uri="{FF2B5EF4-FFF2-40B4-BE49-F238E27FC236}">
                  <a16:creationId xmlns:a16="http://schemas.microsoft.com/office/drawing/2014/main" id="{84ABB73B-A288-49F7-A5F1-6E320C528AA9}"/>
                </a:ext>
              </a:extLst>
            </p:cNvPr>
            <p:cNvSpPr txBox="1">
              <a:spLocks noChangeArrowheads="1"/>
            </p:cNvSpPr>
            <p:nvPr/>
          </p:nvSpPr>
          <p:spPr bwMode="auto">
            <a:xfrm>
              <a:off x="1523096" y="2234165"/>
              <a:ext cx="955" cy="456"/>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Tx/>
                <a:buChar char="•"/>
              </a:pPr>
              <a:r>
                <a:rPr lang="en-US" altLang="en-US" sz="1600" b="1">
                  <a:latin typeface="Times New Roman"/>
                  <a:cs typeface="Times New Roman"/>
                </a:rPr>
                <a:t> </a:t>
              </a:r>
              <a:r>
                <a:rPr lang="en-US" altLang="en-US" sz="1600" b="1">
                  <a:latin typeface="Calibri Light"/>
                  <a:cs typeface="Times New Roman"/>
                </a:rPr>
                <a:t>Project tracking</a:t>
              </a:r>
            </a:p>
            <a:p>
              <a:pPr>
                <a:buFontTx/>
                <a:buChar char="•"/>
              </a:pPr>
              <a:r>
                <a:rPr lang="en-US" altLang="en-US" sz="1600" b="1">
                  <a:latin typeface="Calibri Light"/>
                  <a:cs typeface="Times New Roman"/>
                </a:rPr>
                <a:t> Plan modification</a:t>
              </a:r>
            </a:p>
            <a:p>
              <a:pPr>
                <a:buFontTx/>
                <a:buChar char="•"/>
              </a:pPr>
              <a:r>
                <a:rPr lang="en-US" altLang="en-US" sz="1600" b="1">
                  <a:latin typeface="Calibri Light"/>
                  <a:cs typeface="Times New Roman"/>
                </a:rPr>
                <a:t> Communicate</a:t>
              </a:r>
            </a:p>
          </p:txBody>
        </p:sp>
        <p:sp>
          <p:nvSpPr>
            <p:cNvPr id="22" name="Line 29">
              <a:extLst>
                <a:ext uri="{FF2B5EF4-FFF2-40B4-BE49-F238E27FC236}">
                  <a16:creationId xmlns:a16="http://schemas.microsoft.com/office/drawing/2014/main" id="{D4D9162D-C84C-41F9-807A-132EF1AA0469}"/>
                </a:ext>
              </a:extLst>
            </p:cNvPr>
            <p:cNvSpPr>
              <a:spLocks noChangeShapeType="1"/>
            </p:cNvSpPr>
            <p:nvPr/>
          </p:nvSpPr>
          <p:spPr bwMode="auto">
            <a:xfrm flipV="1">
              <a:off x="1523432" y="2233733"/>
              <a:ext cx="96" cy="432"/>
            </a:xfrm>
            <a:prstGeom prst="line">
              <a:avLst/>
            </a:prstGeom>
            <a:noFill/>
            <a:ln w="28575">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sp>
          <p:nvSpPr>
            <p:cNvPr id="23" name="Text Box 30">
              <a:extLst>
                <a:ext uri="{FF2B5EF4-FFF2-40B4-BE49-F238E27FC236}">
                  <a16:creationId xmlns:a16="http://schemas.microsoft.com/office/drawing/2014/main" id="{F6A1967A-321B-49FC-8D3F-434CE5C2C084}"/>
                </a:ext>
              </a:extLst>
            </p:cNvPr>
            <p:cNvSpPr txBox="1">
              <a:spLocks noChangeArrowheads="1"/>
            </p:cNvSpPr>
            <p:nvPr/>
          </p:nvSpPr>
          <p:spPr bwMode="auto">
            <a:xfrm>
              <a:off x="1524296" y="2234645"/>
              <a:ext cx="1015" cy="186"/>
            </a:xfrm>
            <a:prstGeom prst="rect">
              <a:avLst/>
            </a:prstGeom>
            <a:noFill/>
            <a:ln w="28575">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Tx/>
                <a:buChar char="•"/>
              </a:pPr>
              <a:r>
                <a:rPr lang="en-US" altLang="en-US" sz="1600" b="1">
                  <a:latin typeface="Calibri Light"/>
                  <a:cs typeface="Times New Roman"/>
                </a:rPr>
                <a:t> Project submission</a:t>
              </a:r>
            </a:p>
          </p:txBody>
        </p:sp>
        <p:sp>
          <p:nvSpPr>
            <p:cNvPr id="24" name="Line 31">
              <a:extLst>
                <a:ext uri="{FF2B5EF4-FFF2-40B4-BE49-F238E27FC236}">
                  <a16:creationId xmlns:a16="http://schemas.microsoft.com/office/drawing/2014/main" id="{26496FBE-51B1-47B3-A610-6F8CD4770D09}"/>
                </a:ext>
              </a:extLst>
            </p:cNvPr>
            <p:cNvSpPr>
              <a:spLocks noChangeShapeType="1"/>
            </p:cNvSpPr>
            <p:nvPr/>
          </p:nvSpPr>
          <p:spPr bwMode="auto">
            <a:xfrm flipV="1">
              <a:off x="1524776" y="2234213"/>
              <a:ext cx="144" cy="384"/>
            </a:xfrm>
            <a:prstGeom prst="line">
              <a:avLst/>
            </a:prstGeom>
            <a:noFill/>
            <a:ln w="28575">
              <a:solidFill>
                <a:schemeClr val="accent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1663187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CDA9F289-080A-4B9E-8D3B-FDC65AB4818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0817" y="3092824"/>
            <a:ext cx="762000" cy="950899"/>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5" name="Picture 16">
            <a:extLst>
              <a:ext uri="{FF2B5EF4-FFF2-40B4-BE49-F238E27FC236}">
                <a16:creationId xmlns:a16="http://schemas.microsoft.com/office/drawing/2014/main" id="{805D124E-2227-4ADC-83D5-9ACAC8F448A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3466" y="1234200"/>
            <a:ext cx="742149" cy="951952"/>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6" name="Picture 15">
            <a:extLst>
              <a:ext uri="{FF2B5EF4-FFF2-40B4-BE49-F238E27FC236}">
                <a16:creationId xmlns:a16="http://schemas.microsoft.com/office/drawing/2014/main" id="{87B999ED-8374-4C2F-B6EF-ADBFA602C6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0527" y="3294530"/>
            <a:ext cx="762000" cy="969116"/>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7" name="Picture 2">
            <a:extLst>
              <a:ext uri="{FF2B5EF4-FFF2-40B4-BE49-F238E27FC236}">
                <a16:creationId xmlns:a16="http://schemas.microsoft.com/office/drawing/2014/main" id="{F775A282-2D7B-4217-90CB-B61C74A42DF6}"/>
              </a:ext>
            </a:extLst>
          </p:cNvPr>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44914" y="5049725"/>
            <a:ext cx="1097280" cy="479648"/>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sp>
        <p:nvSpPr>
          <p:cNvPr id="8" name="Title 1">
            <a:extLst>
              <a:ext uri="{FF2B5EF4-FFF2-40B4-BE49-F238E27FC236}">
                <a16:creationId xmlns:a16="http://schemas.microsoft.com/office/drawing/2014/main" id="{D37C644B-2669-44DE-AD68-A999023E8564}"/>
              </a:ext>
            </a:extLst>
          </p:cNvPr>
          <p:cNvSpPr>
            <a:spLocks noGrp="1"/>
          </p:cNvSpPr>
          <p:nvPr>
            <p:ph type="title"/>
            <p:custDataLst>
              <p:tags r:id="rId1"/>
            </p:custDataLst>
          </p:nvPr>
        </p:nvSpPr>
        <p:spPr>
          <a:xfrm>
            <a:off x="721969" y="343884"/>
            <a:ext cx="10925650" cy="626864"/>
          </a:xfrm>
        </p:spPr>
        <p:txBody>
          <a:bodyPr>
            <a:noAutofit/>
          </a:bodyPr>
          <a:lstStyle/>
          <a:p>
            <a:pPr algn="ctr"/>
            <a:r>
              <a:rPr lang="en-US" altLang="ja-JP" sz="2400" b="1">
                <a:ea typeface="游ゴシック Light"/>
              </a:rPr>
              <a:t>Sample project management templates and checklists have</a:t>
            </a:r>
            <a:r>
              <a:rPr lang="en-US" altLang="ja-JP" sz="3400" b="1">
                <a:ea typeface="游ゴシック Light"/>
              </a:rPr>
              <a:t> </a:t>
            </a:r>
            <a:r>
              <a:rPr lang="en-US" altLang="ja-JP" sz="2400" b="1">
                <a:ea typeface="游ゴシック Light"/>
              </a:rPr>
              <a:t>been developed for Plan, Manage and Close phases of a project</a:t>
            </a:r>
            <a:endParaRPr lang="en-US" sz="2400" b="1">
              <a:solidFill>
                <a:srgbClr val="575757"/>
              </a:solidFill>
              <a:ea typeface="游ゴシック Light"/>
              <a:cs typeface="Calibri Light"/>
            </a:endParaRPr>
          </a:p>
        </p:txBody>
      </p:sp>
      <p:sp>
        <p:nvSpPr>
          <p:cNvPr id="9" name="Slide Number Placeholder 2">
            <a:extLst>
              <a:ext uri="{FF2B5EF4-FFF2-40B4-BE49-F238E27FC236}">
                <a16:creationId xmlns:a16="http://schemas.microsoft.com/office/drawing/2014/main" id="{5C28DE08-85AC-4026-9DE8-C1B760BC0B12}"/>
              </a:ext>
            </a:extLst>
          </p:cNvPr>
          <p:cNvSpPr txBox="1">
            <a:spLocks/>
          </p:cNvSpPr>
          <p:nvPr/>
        </p:nvSpPr>
        <p:spPr>
          <a:xfrm>
            <a:off x="7971996" y="6407835"/>
            <a:ext cx="792088" cy="252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 name="Rectangle 9">
            <a:extLst>
              <a:ext uri="{FF2B5EF4-FFF2-40B4-BE49-F238E27FC236}">
                <a16:creationId xmlns:a16="http://schemas.microsoft.com/office/drawing/2014/main" id="{10BCD2E6-5D26-4AE1-A772-95E71CB2B9C9}"/>
              </a:ext>
            </a:extLst>
          </p:cNvPr>
          <p:cNvSpPr/>
          <p:nvPr/>
        </p:nvSpPr>
        <p:spPr>
          <a:xfrm>
            <a:off x="734912" y="4604884"/>
            <a:ext cx="2351533" cy="1077218"/>
          </a:xfrm>
          <a:prstGeom prst="rect">
            <a:avLst/>
          </a:prstGeom>
        </p:spPr>
        <p:txBody>
          <a:bodyPr wrap="square" lIns="0" tIns="0" rIns="0" bIns="0">
            <a:spAutoFit/>
          </a:bodyPr>
          <a:lstStyle/>
          <a:p>
            <a:pPr defTabSz="914186">
              <a:spcAft>
                <a:spcPts val="600"/>
              </a:spcAft>
            </a:pPr>
            <a:r>
              <a:rPr lang="en-US" sz="1000" b="1">
                <a:solidFill>
                  <a:prstClr val="white"/>
                </a:solidFill>
              </a:rPr>
              <a:t>LOREM IPSUM </a:t>
            </a:r>
            <a:br>
              <a:rPr lang="en-US" sz="1000" b="1">
                <a:solidFill>
                  <a:prstClr val="white"/>
                </a:solidFill>
              </a:rPr>
            </a:br>
            <a:r>
              <a:rPr lang="en-US" sz="1000">
                <a:solidFill>
                  <a:prstClr val="white"/>
                </a:solidFill>
              </a:rPr>
              <a:t>This is dummy text it is not here to be read. This is dummy text it is not here to be read. This is dummy text it is not here to be read. This is dummy text it is not here to be read. This is dummy text it is not here to be read. </a:t>
            </a:r>
          </a:p>
        </p:txBody>
      </p:sp>
      <p:sp>
        <p:nvSpPr>
          <p:cNvPr id="11" name="Footer Placeholder 3">
            <a:extLst>
              <a:ext uri="{FF2B5EF4-FFF2-40B4-BE49-F238E27FC236}">
                <a16:creationId xmlns:a16="http://schemas.microsoft.com/office/drawing/2014/main" id="{484B3BF2-EE67-4269-BF69-2A8C020E70B4}"/>
              </a:ext>
            </a:extLst>
          </p:cNvPr>
          <p:cNvSpPr txBox="1">
            <a:spLocks/>
          </p:cNvSpPr>
          <p:nvPr/>
        </p:nvSpPr>
        <p:spPr>
          <a:xfrm>
            <a:off x="370113" y="6407835"/>
            <a:ext cx="7559473" cy="252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tabLst>
                <a:tab pos="8340362" algn="r"/>
              </a:tabLst>
              <a:defRPr/>
            </a:pPr>
            <a:endParaRPr lang="en-CA">
              <a:solidFill>
                <a:prstClr val="white">
                  <a:lumMod val="50000"/>
                </a:prstClr>
              </a:solidFill>
              <a:cs typeface="Arial" pitchFamily="34" charset="0"/>
            </a:endParaRPr>
          </a:p>
        </p:txBody>
      </p:sp>
      <p:grpSp>
        <p:nvGrpSpPr>
          <p:cNvPr id="12" name="Group 11">
            <a:extLst>
              <a:ext uri="{FF2B5EF4-FFF2-40B4-BE49-F238E27FC236}">
                <a16:creationId xmlns:a16="http://schemas.microsoft.com/office/drawing/2014/main" id="{BCDA7755-6882-4E75-8EF9-AB78CF5DE7CF}"/>
              </a:ext>
            </a:extLst>
          </p:cNvPr>
          <p:cNvGrpSpPr/>
          <p:nvPr/>
        </p:nvGrpSpPr>
        <p:grpSpPr>
          <a:xfrm>
            <a:off x="4399435" y="2377029"/>
            <a:ext cx="3572561" cy="2435284"/>
            <a:chOff x="2775783" y="2459183"/>
            <a:chExt cx="4310817" cy="3103417"/>
          </a:xfrm>
        </p:grpSpPr>
        <p:graphicFrame>
          <p:nvGraphicFramePr>
            <p:cNvPr id="13" name="Chart 12">
              <a:extLst>
                <a:ext uri="{FF2B5EF4-FFF2-40B4-BE49-F238E27FC236}">
                  <a16:creationId xmlns:a16="http://schemas.microsoft.com/office/drawing/2014/main" id="{AEB070F9-23C6-4D2B-BDA7-2BCD1BDA9270}"/>
                </a:ext>
              </a:extLst>
            </p:cNvPr>
            <p:cNvGraphicFramePr/>
            <p:nvPr>
              <p:extLst>
                <p:ext uri="{D42A27DB-BD31-4B8C-83A1-F6EECF244321}">
                  <p14:modId xmlns:p14="http://schemas.microsoft.com/office/powerpoint/2010/main" val="4244322653"/>
                </p:ext>
              </p:extLst>
            </p:nvPr>
          </p:nvGraphicFramePr>
          <p:xfrm>
            <a:off x="2775783" y="2459183"/>
            <a:ext cx="4310817" cy="3103417"/>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Box 1">
              <a:extLst>
                <a:ext uri="{FF2B5EF4-FFF2-40B4-BE49-F238E27FC236}">
                  <a16:creationId xmlns:a16="http://schemas.microsoft.com/office/drawing/2014/main" id="{41C2A9C8-A925-4DD3-B11C-6A2D69B93360}"/>
                </a:ext>
              </a:extLst>
            </p:cNvPr>
            <p:cNvSpPr txBox="1"/>
            <p:nvPr/>
          </p:nvSpPr>
          <p:spPr>
            <a:xfrm>
              <a:off x="4076907" y="3462556"/>
              <a:ext cx="1676400" cy="989974"/>
            </a:xfrm>
            <a:prstGeom prst="rect">
              <a:avLst/>
            </a:prstGeom>
          </p:spPr>
          <p:txBody>
            <a:bodyPr wrap="square" lIns="101870" tIns="50935" rIns="101870" bIns="5093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4186"/>
              <a:r>
                <a:rPr lang="en-US" sz="1300" b="1">
                  <a:solidFill>
                    <a:schemeClr val="bg1">
                      <a:lumMod val="50000"/>
                    </a:schemeClr>
                  </a:solidFill>
                </a:rPr>
                <a:t>Project Management Tools &amp; Templates</a:t>
              </a:r>
            </a:p>
          </p:txBody>
        </p:sp>
        <p:sp>
          <p:nvSpPr>
            <p:cNvPr id="15" name="TextBox 14">
              <a:extLst>
                <a:ext uri="{FF2B5EF4-FFF2-40B4-BE49-F238E27FC236}">
                  <a16:creationId xmlns:a16="http://schemas.microsoft.com/office/drawing/2014/main" id="{DC0BE8E6-C838-4708-8B53-32F69EEFE346}"/>
                </a:ext>
              </a:extLst>
            </p:cNvPr>
            <p:cNvSpPr txBox="1"/>
            <p:nvPr/>
          </p:nvSpPr>
          <p:spPr>
            <a:xfrm rot="18250446">
              <a:off x="3631905" y="3351859"/>
              <a:ext cx="1381760" cy="384085"/>
            </a:xfrm>
            <a:prstGeom prst="rect">
              <a:avLst/>
            </a:prstGeom>
            <a:noFill/>
            <a:scene3d>
              <a:camera prst="orthographicFront">
                <a:rot lat="0" lon="0" rev="0"/>
              </a:camera>
              <a:lightRig rig="threePt" dir="t"/>
            </a:scene3d>
          </p:spPr>
          <p:txBody>
            <a:bodyPr wrap="square" lIns="101870" tIns="50935" rIns="101870" bIns="50935" rtlCol="0">
              <a:prstTxWarp prst="textArchUp">
                <a:avLst/>
              </a:prstTxWarp>
              <a:spAutoFit/>
            </a:bodyPr>
            <a:lstStyle/>
            <a:p>
              <a:pPr algn="ctr" defTabSz="914186"/>
              <a:r>
                <a:rPr lang="en-US" sz="1400" b="1">
                  <a:solidFill>
                    <a:srgbClr val="FFFFFF"/>
                  </a:solidFill>
                </a:rPr>
                <a:t>1. Plan</a:t>
              </a:r>
            </a:p>
          </p:txBody>
        </p:sp>
        <p:sp>
          <p:nvSpPr>
            <p:cNvPr id="16" name="TextBox 15">
              <a:extLst>
                <a:ext uri="{FF2B5EF4-FFF2-40B4-BE49-F238E27FC236}">
                  <a16:creationId xmlns:a16="http://schemas.microsoft.com/office/drawing/2014/main" id="{2DA00F83-A51F-4D6D-ABC7-0DBFB8D412BE}"/>
                </a:ext>
              </a:extLst>
            </p:cNvPr>
            <p:cNvSpPr txBox="1"/>
            <p:nvPr/>
          </p:nvSpPr>
          <p:spPr>
            <a:xfrm rot="3623941">
              <a:off x="4859646" y="3400560"/>
              <a:ext cx="1381760" cy="465477"/>
            </a:xfrm>
            <a:prstGeom prst="rect">
              <a:avLst/>
            </a:prstGeom>
            <a:noFill/>
            <a:scene3d>
              <a:camera prst="orthographicFront">
                <a:rot lat="0" lon="0" rev="0"/>
              </a:camera>
              <a:lightRig rig="threePt" dir="t"/>
            </a:scene3d>
          </p:spPr>
          <p:txBody>
            <a:bodyPr spcFirstLastPara="1" wrap="square" lIns="101870" tIns="50935" rIns="101870" bIns="50935" numCol="1" rtlCol="0" anchor="ctr">
              <a:prstTxWarp prst="textArchUp">
                <a:avLst/>
              </a:prstTxWarp>
              <a:spAutoFit/>
            </a:bodyPr>
            <a:lstStyle>
              <a:defPPr>
                <a:defRPr lang="en-US"/>
              </a:defPPr>
              <a:lvl1pPr algn="ctr" defTabSz="914186">
                <a:defRPr sz="1400" b="1">
                  <a:solidFill>
                    <a:srgbClr val="FFFFFF"/>
                  </a:solidFill>
                </a:defRPr>
              </a:lvl1pPr>
            </a:lstStyle>
            <a:p>
              <a:r>
                <a:rPr lang="en-US"/>
                <a:t>2. Manage</a:t>
              </a:r>
            </a:p>
          </p:txBody>
        </p:sp>
        <p:sp>
          <p:nvSpPr>
            <p:cNvPr id="17" name="TextBox 16">
              <a:extLst>
                <a:ext uri="{FF2B5EF4-FFF2-40B4-BE49-F238E27FC236}">
                  <a16:creationId xmlns:a16="http://schemas.microsoft.com/office/drawing/2014/main" id="{3F1B2F27-8ED5-44D8-A0ED-0D702AB95BD7}"/>
                </a:ext>
              </a:extLst>
            </p:cNvPr>
            <p:cNvSpPr txBox="1"/>
            <p:nvPr/>
          </p:nvSpPr>
          <p:spPr>
            <a:xfrm>
              <a:off x="4289231" y="4743847"/>
              <a:ext cx="1341120" cy="405637"/>
            </a:xfrm>
            <a:prstGeom prst="rect">
              <a:avLst/>
            </a:prstGeom>
            <a:noFill/>
            <a:scene3d>
              <a:camera prst="orthographicFront">
                <a:rot lat="0" lon="0" rev="0"/>
              </a:camera>
              <a:lightRig rig="threePt" dir="t"/>
            </a:scene3d>
          </p:spPr>
          <p:txBody>
            <a:bodyPr spcFirstLastPara="1" wrap="square" lIns="101870" tIns="50935" rIns="101870" bIns="50935" numCol="1" rtlCol="0" anchor="ctr">
              <a:prstTxWarp prst="textArchDown">
                <a:avLst/>
              </a:prstTxWarp>
              <a:spAutoFit/>
            </a:bodyPr>
            <a:lstStyle>
              <a:defPPr>
                <a:defRPr lang="en-US"/>
              </a:defPPr>
              <a:lvl1pPr algn="ctr" defTabSz="914186">
                <a:defRPr sz="1400" b="1">
                  <a:solidFill>
                    <a:srgbClr val="FFFFFF"/>
                  </a:solidFill>
                </a:defRPr>
              </a:lvl1pPr>
            </a:lstStyle>
            <a:p>
              <a:r>
                <a:rPr lang="en-US"/>
                <a:t>3. Close</a:t>
              </a:r>
            </a:p>
          </p:txBody>
        </p:sp>
      </p:grpSp>
      <p:pic>
        <p:nvPicPr>
          <p:cNvPr id="18" name="Picture 3">
            <a:extLst>
              <a:ext uri="{FF2B5EF4-FFF2-40B4-BE49-F238E27FC236}">
                <a16:creationId xmlns:a16="http://schemas.microsoft.com/office/drawing/2014/main" id="{78213B76-613B-4563-9EC9-61C78D2BD48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9220" y="1474340"/>
            <a:ext cx="669165" cy="834789"/>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19" name="Picture 5">
            <a:extLst>
              <a:ext uri="{FF2B5EF4-FFF2-40B4-BE49-F238E27FC236}">
                <a16:creationId xmlns:a16="http://schemas.microsoft.com/office/drawing/2014/main" id="{275DAD39-1E38-4A1B-8840-4CE5292307C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4581" y="1682020"/>
            <a:ext cx="699371" cy="843859"/>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0" name="Picture 6">
            <a:extLst>
              <a:ext uri="{FF2B5EF4-FFF2-40B4-BE49-F238E27FC236}">
                <a16:creationId xmlns:a16="http://schemas.microsoft.com/office/drawing/2014/main" id="{1DABBA87-0168-4C2C-A9D1-0A0D84200B1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33428" y="5589078"/>
            <a:ext cx="1542379" cy="541864"/>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1" name="Picture 7">
            <a:extLst>
              <a:ext uri="{FF2B5EF4-FFF2-40B4-BE49-F238E27FC236}">
                <a16:creationId xmlns:a16="http://schemas.microsoft.com/office/drawing/2014/main" id="{F83DB953-A09D-4EBA-821F-E07D1CCC108B}"/>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r="22962"/>
          <a:stretch/>
        </p:blipFill>
        <p:spPr bwMode="auto">
          <a:xfrm>
            <a:off x="2163503" y="5849307"/>
            <a:ext cx="1731818" cy="579222"/>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2" name="Picture 2">
            <a:extLst>
              <a:ext uri="{FF2B5EF4-FFF2-40B4-BE49-F238E27FC236}">
                <a16:creationId xmlns:a16="http://schemas.microsoft.com/office/drawing/2014/main" id="{93A2DDB1-5F14-4960-B3C4-50EF8414665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9457" y="3562158"/>
            <a:ext cx="762000" cy="950899"/>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3" name="Picture 4">
            <a:extLst>
              <a:ext uri="{FF2B5EF4-FFF2-40B4-BE49-F238E27FC236}">
                <a16:creationId xmlns:a16="http://schemas.microsoft.com/office/drawing/2014/main" id="{40AB4D4C-41E1-43AC-AF51-1AE442FD4C6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55997" y="3776122"/>
            <a:ext cx="770228" cy="948278"/>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4" name="Picture 5">
            <a:extLst>
              <a:ext uri="{FF2B5EF4-FFF2-40B4-BE49-F238E27FC236}">
                <a16:creationId xmlns:a16="http://schemas.microsoft.com/office/drawing/2014/main" id="{64265307-661F-4BF3-A5E0-6BE828D7EA3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565646" y="1834028"/>
            <a:ext cx="1128797" cy="725995"/>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5" name="Picture 4">
            <a:extLst>
              <a:ext uri="{FF2B5EF4-FFF2-40B4-BE49-F238E27FC236}">
                <a16:creationId xmlns:a16="http://schemas.microsoft.com/office/drawing/2014/main" id="{6E1A26E8-DA77-4CDD-8A42-0633215D14C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432493" y="5469820"/>
            <a:ext cx="722771" cy="746252"/>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6" name="Picture 5">
            <a:extLst>
              <a:ext uri="{FF2B5EF4-FFF2-40B4-BE49-F238E27FC236}">
                <a16:creationId xmlns:a16="http://schemas.microsoft.com/office/drawing/2014/main" id="{6278D91B-164D-450F-A00D-E557C963070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15052" y="5644417"/>
            <a:ext cx="704333" cy="744462"/>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7" name="Picture 2">
            <a:extLst>
              <a:ext uri="{FF2B5EF4-FFF2-40B4-BE49-F238E27FC236}">
                <a16:creationId xmlns:a16="http://schemas.microsoft.com/office/drawing/2014/main" id="{4B48A96A-297D-4BDD-965E-3EE59886145C}"/>
              </a:ext>
            </a:extLst>
          </p:cNvPr>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825432" y="5257461"/>
            <a:ext cx="1097280" cy="479648"/>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8" name="Picture 2">
            <a:extLst>
              <a:ext uri="{FF2B5EF4-FFF2-40B4-BE49-F238E27FC236}">
                <a16:creationId xmlns:a16="http://schemas.microsoft.com/office/drawing/2014/main" id="{4AF75235-A216-46B7-A396-BACEC48727FF}"/>
              </a:ext>
            </a:extLst>
          </p:cNvPr>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013071" y="5489310"/>
            <a:ext cx="1097280" cy="479648"/>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29" name="Picture 11">
            <a:extLst>
              <a:ext uri="{FF2B5EF4-FFF2-40B4-BE49-F238E27FC236}">
                <a16:creationId xmlns:a16="http://schemas.microsoft.com/office/drawing/2014/main" id="{E95CEF61-8990-4CF3-9F8F-C0FF0B7F94E8}"/>
              </a:ext>
            </a:extLst>
          </p:cNvPr>
          <p:cNvPicPr>
            <a:picLocks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193554" y="5685789"/>
            <a:ext cx="1097280" cy="548640"/>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sp>
        <p:nvSpPr>
          <p:cNvPr id="30" name="TextBox 29">
            <a:extLst>
              <a:ext uri="{FF2B5EF4-FFF2-40B4-BE49-F238E27FC236}">
                <a16:creationId xmlns:a16="http://schemas.microsoft.com/office/drawing/2014/main" id="{E23ABC60-905F-46EB-A748-5BE6C54F01BC}"/>
              </a:ext>
            </a:extLst>
          </p:cNvPr>
          <p:cNvSpPr txBox="1"/>
          <p:nvPr/>
        </p:nvSpPr>
        <p:spPr>
          <a:xfrm>
            <a:off x="7646643" y="1524198"/>
            <a:ext cx="2465220" cy="2505050"/>
          </a:xfrm>
          <a:prstGeom prst="rect">
            <a:avLst/>
          </a:prstGeom>
          <a:noFill/>
        </p:spPr>
        <p:txBody>
          <a:bodyPr wrap="square" lIns="82058" tIns="41029" rIns="82058" bIns="41029" rtlCol="0" anchor="t">
            <a:spAutoFit/>
          </a:bodyPr>
          <a:lstStyle/>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Project Status Report</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Issue Log</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Risk Log</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Deliverable Overview and Acceptance Form</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Change Request Log</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Action Item Log</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Decision Log</a:t>
            </a:r>
          </a:p>
        </p:txBody>
      </p:sp>
      <p:pic>
        <p:nvPicPr>
          <p:cNvPr id="31" name="Picture 10">
            <a:extLst>
              <a:ext uri="{FF2B5EF4-FFF2-40B4-BE49-F238E27FC236}">
                <a16:creationId xmlns:a16="http://schemas.microsoft.com/office/drawing/2014/main" id="{930D31EB-1817-449A-8AA8-99DDFDBABAD7}"/>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222835" y="1413994"/>
            <a:ext cx="1153440" cy="783032"/>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pic>
        <p:nvPicPr>
          <p:cNvPr id="32" name="Picture 9">
            <a:extLst>
              <a:ext uri="{FF2B5EF4-FFF2-40B4-BE49-F238E27FC236}">
                <a16:creationId xmlns:a16="http://schemas.microsoft.com/office/drawing/2014/main" id="{BA6ADFEB-4956-4DF6-A6C3-55DF20F7F0A9}"/>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626345" y="4530013"/>
            <a:ext cx="841809" cy="875150"/>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sp>
        <p:nvSpPr>
          <p:cNvPr id="33" name="TextBox 32">
            <a:extLst>
              <a:ext uri="{FF2B5EF4-FFF2-40B4-BE49-F238E27FC236}">
                <a16:creationId xmlns:a16="http://schemas.microsoft.com/office/drawing/2014/main" id="{D51477B1-C2DF-44C0-BE5A-2465F3F5764D}"/>
              </a:ext>
            </a:extLst>
          </p:cNvPr>
          <p:cNvSpPr txBox="1"/>
          <p:nvPr/>
        </p:nvSpPr>
        <p:spPr>
          <a:xfrm>
            <a:off x="1745086" y="1367375"/>
            <a:ext cx="3419957" cy="3606901"/>
          </a:xfrm>
          <a:prstGeom prst="rect">
            <a:avLst/>
          </a:prstGeom>
          <a:noFill/>
        </p:spPr>
        <p:txBody>
          <a:bodyPr wrap="square" lIns="82058" tIns="41029" rIns="82058" bIns="41029" rtlCol="0" anchor="t">
            <a:spAutoFit/>
          </a:bodyPr>
          <a:lstStyle/>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Project Charter</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Project Management Plan</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Master Plan </a:t>
            </a:r>
            <a:endParaRPr lang="en-US" sz="1400" b="1">
              <a:solidFill>
                <a:schemeClr val="accent1"/>
              </a:solidFill>
              <a:latin typeface="Calibri Light"/>
              <a:cs typeface="Times New Roman" panose="02020603050405020304" pitchFamily="18" charset="0"/>
            </a:endParaRP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Resource Plan</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Organizational Change Management Plan</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Communication Plan &amp; Tracker</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Quality Management Plan</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Deliverable Log</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Personal &amp; Confidential Information Plan</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Training Log</a:t>
            </a:r>
          </a:p>
          <a:p>
            <a:pPr marL="307340" indent="-307340">
              <a:spcBef>
                <a:spcPts val="600"/>
              </a:spcBef>
              <a:spcAft>
                <a:spcPts val="300"/>
              </a:spcAft>
              <a:buFont typeface="Wingdings" panose="05000000000000000000" pitchFamily="2" charset="2"/>
              <a:buChar char="ü"/>
            </a:pPr>
            <a:r>
              <a:rPr lang="en-US" sz="1400" b="1">
                <a:solidFill>
                  <a:schemeClr val="accent1"/>
                </a:solidFill>
                <a:latin typeface="Calibri Light"/>
                <a:cs typeface="Times New Roman"/>
              </a:rPr>
              <a:t>Kick-off Meeting Template</a:t>
            </a:r>
          </a:p>
        </p:txBody>
      </p:sp>
      <p:sp>
        <p:nvSpPr>
          <p:cNvPr id="34" name="TextBox 33">
            <a:extLst>
              <a:ext uri="{FF2B5EF4-FFF2-40B4-BE49-F238E27FC236}">
                <a16:creationId xmlns:a16="http://schemas.microsoft.com/office/drawing/2014/main" id="{4DE6ECB9-71EA-4493-AEC8-5BB7F3F88B52}"/>
              </a:ext>
            </a:extLst>
          </p:cNvPr>
          <p:cNvSpPr txBox="1"/>
          <p:nvPr/>
        </p:nvSpPr>
        <p:spPr>
          <a:xfrm>
            <a:off x="5160499" y="4747737"/>
            <a:ext cx="1998990" cy="729190"/>
          </a:xfrm>
          <a:prstGeom prst="rect">
            <a:avLst/>
          </a:prstGeom>
          <a:noFill/>
        </p:spPr>
        <p:txBody>
          <a:bodyPr wrap="square" lIns="82058" tIns="41029" rIns="82058" bIns="41029" rtlCol="0" anchor="t">
            <a:spAutoFit/>
          </a:bodyPr>
          <a:lstStyle/>
          <a:p>
            <a:pPr marL="307340" indent="-307340" fontAlgn="ctr">
              <a:buFont typeface="Wingdings" panose="05000000000000000000" pitchFamily="2" charset="2"/>
              <a:buChar char="ü"/>
              <a:defRPr/>
            </a:pPr>
            <a:r>
              <a:rPr lang="en-US" sz="1400" b="1">
                <a:solidFill>
                  <a:schemeClr val="accent1"/>
                </a:solidFill>
                <a:latin typeface="Calibri Light"/>
                <a:cs typeface="Calibri Light"/>
              </a:rPr>
              <a:t>Phase-end Review Report and Project Closure Report</a:t>
            </a:r>
            <a:endParaRPr lang="en-US" sz="1400">
              <a:solidFill>
                <a:schemeClr val="accent1"/>
              </a:solidFill>
              <a:latin typeface="Calibri Light"/>
              <a:cs typeface="Calibri Light"/>
            </a:endParaRPr>
          </a:p>
        </p:txBody>
      </p:sp>
      <p:pic>
        <p:nvPicPr>
          <p:cNvPr id="35" name="Picture 8">
            <a:extLst>
              <a:ext uri="{FF2B5EF4-FFF2-40B4-BE49-F238E27FC236}">
                <a16:creationId xmlns:a16="http://schemas.microsoft.com/office/drawing/2014/main" id="{ABDF3DFE-D492-4B63-8FC3-8991A5D9C7F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68793" y="1891664"/>
            <a:ext cx="708953" cy="851073"/>
          </a:xfrm>
          <a:prstGeom prst="rect">
            <a:avLst/>
          </a:prstGeom>
          <a:noFill/>
          <a:ln w="1270">
            <a:solidFill>
              <a:schemeClr val="tx1">
                <a:lumMod val="50000"/>
                <a:lumOff val="50000"/>
              </a:schemeClr>
            </a:solidFill>
            <a:miter lim="800000"/>
            <a:headEnd/>
            <a:tailEnd/>
          </a:ln>
          <a:effectLst>
            <a:outerShdw blurRad="50800" dist="50800" dir="5400000" algn="ctr" rotWithShape="0">
              <a:schemeClr val="tx1">
                <a:lumMod val="65000"/>
                <a:lumOff val="35000"/>
                <a:alpha val="52000"/>
              </a:scheme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2236304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7</Slides>
  <Notes>0</Notes>
  <HiddenSlides>0</HiddenSlides>
  <ScaleCrop>false</ScaleCrop>
  <HeadingPairs>
    <vt:vector size="4" baseType="variant">
      <vt:variant>
        <vt:lpstr>Theme</vt:lpstr>
      </vt:variant>
      <vt:variant>
        <vt:i4>1</vt:i4>
      </vt:variant>
      <vt:variant>
        <vt:lpstr>Slide Titles</vt:lpstr>
      </vt:variant>
      <vt:variant>
        <vt:i4>27</vt:i4>
      </vt:variant>
    </vt:vector>
  </HeadingPairs>
  <TitlesOfParts>
    <vt:vector size="28" baseType="lpstr">
      <vt:lpstr>Office Theme</vt:lpstr>
      <vt:lpstr>PowerPoint Presentation</vt:lpstr>
      <vt:lpstr>PowerPoint Presentation</vt:lpstr>
      <vt:lpstr>SCOPE, BUDGET and TIME</vt:lpstr>
      <vt:lpstr>BUSINESS CASE  </vt:lpstr>
      <vt:lpstr>CHALLENGES  </vt:lpstr>
      <vt:lpstr>PROPOSED SOLUTION </vt:lpstr>
      <vt:lpstr>DELIVERABLES  </vt:lpstr>
      <vt:lpstr>FRAMEWORK: PROJECT CYCLE </vt:lpstr>
      <vt:lpstr>Sample project management templates and checklists have been developed for Plan, Manage and Close phases of a project</vt:lpstr>
      <vt:lpstr>PROJECT PRIORITIZATION MODELS: VENN DIAGRAM</vt:lpstr>
      <vt:lpstr>PROJECT ORGANIZATION  </vt:lpstr>
      <vt:lpstr>PowerPoint Presentation</vt:lpstr>
      <vt:lpstr>PowerPoint Presentation</vt:lpstr>
      <vt:lpstr>SEVERITY MATRIX : PROBABILITY SCALE</vt:lpstr>
      <vt:lpstr>RISK SEVERITY ANALYSIS </vt:lpstr>
      <vt:lpstr>PROJECT BUDGET </vt:lpstr>
      <vt:lpstr>Percentage Complete Status for all top-level tasks. To see the status for subtasks, click on the chart and update the outline level in the Field List. </vt:lpstr>
      <vt:lpstr>COST DISTRIBUTION</vt:lpstr>
      <vt:lpstr>PROJECT RESOURCES </vt:lpstr>
      <vt:lpstr>STAKEHOLDER POWER/INTEREST GRID  AND KEY STAKEHOLDER LIST </vt:lpstr>
      <vt:lpstr>PROJECT MEMBERS DIRECTORY</vt:lpstr>
      <vt:lpstr>COMMUNICATION MANAGEMENT MATRIX</vt:lpstr>
      <vt:lpstr>PROJECT TRACKING </vt:lpstr>
      <vt:lpstr>EVALUATION AND LESSONS LEARNED</vt:lpstr>
      <vt:lpstr>SECURITY AND DATA AVAILABILITY</vt:lpstr>
      <vt:lpstr>PowerPoint Presentation</vt:lpstr>
      <vt:lpstr>THANK YOU   ANY 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chal Bhamore</dc:creator>
  <cp:revision>1</cp:revision>
  <dcterms:created xsi:type="dcterms:W3CDTF">2020-11-30T00:48:54Z</dcterms:created>
  <dcterms:modified xsi:type="dcterms:W3CDTF">2020-12-02T21:34:15Z</dcterms:modified>
</cp:coreProperties>
</file>